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409" r:id="rId2"/>
    <p:sldId id="469" r:id="rId3"/>
    <p:sldId id="296" r:id="rId4"/>
    <p:sldId id="353" r:id="rId5"/>
    <p:sldId id="346" r:id="rId6"/>
    <p:sldId id="308" r:id="rId7"/>
    <p:sldId id="358" r:id="rId8"/>
    <p:sldId id="298" r:id="rId9"/>
    <p:sldId id="299" r:id="rId10"/>
    <p:sldId id="352" r:id="rId11"/>
    <p:sldId id="354" r:id="rId12"/>
    <p:sldId id="355" r:id="rId13"/>
    <p:sldId id="356" r:id="rId14"/>
    <p:sldId id="357" r:id="rId15"/>
    <p:sldId id="359" r:id="rId16"/>
    <p:sldId id="462" r:id="rId17"/>
    <p:sldId id="463" r:id="rId18"/>
    <p:sldId id="464" r:id="rId19"/>
    <p:sldId id="465" r:id="rId20"/>
    <p:sldId id="466" r:id="rId21"/>
    <p:sldId id="467" r:id="rId22"/>
    <p:sldId id="360" r:id="rId23"/>
    <p:sldId id="366" r:id="rId24"/>
    <p:sldId id="361" r:id="rId25"/>
    <p:sldId id="362" r:id="rId26"/>
    <p:sldId id="363" r:id="rId27"/>
    <p:sldId id="364" r:id="rId28"/>
    <p:sldId id="365" r:id="rId29"/>
    <p:sldId id="468" r:id="rId30"/>
    <p:sldId id="301" r:id="rId3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02" autoAdjust="0"/>
    <p:restoredTop sz="92736" autoAdjust="0"/>
  </p:normalViewPr>
  <p:slideViewPr>
    <p:cSldViewPr snapToGrid="0">
      <p:cViewPr varScale="1">
        <p:scale>
          <a:sx n="147" d="100"/>
          <a:sy n="147" d="100"/>
        </p:scale>
        <p:origin x="4764" y="120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image" Target="../media/image28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elationship between experience, model, values, and policy</a:t>
            </a:r>
          </a:p>
          <a:p>
            <a:r>
              <a:rPr lang="zh-CN" altLang="en-US" dirty="0"/>
              <a:t>加图例</a:t>
            </a:r>
            <a:endParaRPr lang="en-US" altLang="zh-CN" dirty="0"/>
          </a:p>
          <a:p>
            <a:r>
              <a:rPr lang="en-US" altLang="zh-CN" dirty="0"/>
              <a:t>referenc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806174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elationship between experience, model, values, and policy</a:t>
            </a:r>
          </a:p>
          <a:p>
            <a:r>
              <a:rPr lang="zh-CN" altLang="en-US" dirty="0"/>
              <a:t>加图例</a:t>
            </a:r>
            <a:endParaRPr lang="en-US" altLang="zh-CN" dirty="0"/>
          </a:p>
          <a:p>
            <a:r>
              <a:rPr lang="en-US" altLang="zh-CN" dirty="0"/>
              <a:t>referenc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21958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elationship between experience, model, values, and policy</a:t>
            </a:r>
          </a:p>
          <a:p>
            <a:r>
              <a:rPr lang="zh-CN" altLang="en-US" dirty="0"/>
              <a:t>加图例</a:t>
            </a:r>
            <a:endParaRPr lang="en-US" altLang="zh-CN" dirty="0"/>
          </a:p>
          <a:p>
            <a:r>
              <a:rPr lang="en-US" altLang="zh-CN" dirty="0"/>
              <a:t>referenc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806174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20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3.png"/><Relationship Id="rId7" Type="http://schemas.openxmlformats.org/officeDocument/2006/relationships/image" Target="../media/image15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90.png"/><Relationship Id="rId10" Type="http://schemas.openxmlformats.org/officeDocument/2006/relationships/image" Target="../media/image160.png"/><Relationship Id="rId9" Type="http://schemas.openxmlformats.org/officeDocument/2006/relationships/image" Target="../media/image12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png"/><Relationship Id="rId5" Type="http://schemas.openxmlformats.org/officeDocument/2006/relationships/image" Target="../media/image8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00.png"/><Relationship Id="rId5" Type="http://schemas.openxmlformats.org/officeDocument/2006/relationships/image" Target="../media/image24.png"/><Relationship Id="rId4" Type="http://schemas.openxmlformats.org/officeDocument/2006/relationships/image" Target="../media/image170.png"/></Relationships>
</file>

<file path=ppt/slides/_rels/slide22.xml.rels><?xml version="1.0" encoding="UTF-8" standalone="yes"?>
<Relationships xmlns="http://schemas.openxmlformats.org/package/2006/relationships"><Relationship Id="rId7" Type="http://schemas.openxmlformats.org/officeDocument/2006/relationships/image" Target="../media/image2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0.png"/><Relationship Id="rId5" Type="http://schemas.openxmlformats.org/officeDocument/2006/relationships/image" Target="../media/image24.png"/><Relationship Id="rId4" Type="http://schemas.openxmlformats.org/officeDocument/2006/relationships/image" Target="../media/image17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7" Type="http://schemas.openxmlformats.org/officeDocument/2006/relationships/image" Target="../media/image24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9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wmf"/><Relationship Id="rId13" Type="http://schemas.openxmlformats.org/officeDocument/2006/relationships/image" Target="../media/image300.png"/><Relationship Id="rId3" Type="http://schemas.openxmlformats.org/officeDocument/2006/relationships/image" Target="../media/image24.png"/><Relationship Id="rId7" Type="http://schemas.openxmlformats.org/officeDocument/2006/relationships/oleObject" Target="../embeddings/oleObject4.bin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70.png"/><Relationship Id="rId11" Type="http://schemas.openxmlformats.org/officeDocument/2006/relationships/image" Target="../media/image30.png"/><Relationship Id="rId15" Type="http://schemas.openxmlformats.org/officeDocument/2006/relationships/image" Target="../media/image320.png"/><Relationship Id="rId10" Type="http://schemas.openxmlformats.org/officeDocument/2006/relationships/image" Target="../media/image29.wmf"/><Relationship Id="rId9" Type="http://schemas.openxmlformats.org/officeDocument/2006/relationships/oleObject" Target="../embeddings/oleObject5.bin"/><Relationship Id="rId14" Type="http://schemas.openxmlformats.org/officeDocument/2006/relationships/image" Target="../media/image31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gif"/><Relationship Id="rId13" Type="http://schemas.openxmlformats.org/officeDocument/2006/relationships/image" Target="../media/image41.png"/><Relationship Id="rId3" Type="http://schemas.openxmlformats.org/officeDocument/2006/relationships/image" Target="../media/image32.gif"/><Relationship Id="rId7" Type="http://schemas.openxmlformats.org/officeDocument/2006/relationships/image" Target="../media/image36.gi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gif"/><Relationship Id="rId5" Type="http://schemas.openxmlformats.org/officeDocument/2006/relationships/image" Target="../media/image34.gif"/><Relationship Id="rId10" Type="http://schemas.openxmlformats.org/officeDocument/2006/relationships/image" Target="../media/image39.gif"/><Relationship Id="rId4" Type="http://schemas.openxmlformats.org/officeDocument/2006/relationships/image" Target="../media/image33.gif"/><Relationship Id="rId9" Type="http://schemas.openxmlformats.org/officeDocument/2006/relationships/image" Target="../media/image38.gi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0.png"/><Relationship Id="rId3" Type="http://schemas.openxmlformats.org/officeDocument/2006/relationships/image" Target="../media/image36.gif"/><Relationship Id="rId2" Type="http://schemas.openxmlformats.org/officeDocument/2006/relationships/image" Target="../media/image35.gi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2.png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10" Type="http://schemas.openxmlformats.org/officeDocument/2006/relationships/image" Target="../media/image16.png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6209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于模型的深度强化学习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9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24816" y="1785532"/>
            <a:ext cx="54921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预测控制、基于模型的策略优化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打靶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7137B883-774E-6B26-D8BB-0AD79BDE18A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41696"/>
                <a:ext cx="8137922" cy="499876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种不用构建智能体的计算模块（值函数和策略），直接使用环境模型来规划下一个动作的方法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当前状态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出发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每个候选动作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附上一个长度为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𝑇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随机动作序列，得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[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…, 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𝑇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通过此动作序列与环境模型交互出一条轨迹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[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altLang="zh-CN" i="1" dirty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…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altLang="zh-CN" i="1" dirty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𝑇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𝑇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𝑇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基于此采样轨迹，可以对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</m:sSub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</m:sSub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计算得到一个经验性的价值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acc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𝑄</m:t>
                          </m:r>
                        </m:e>
                      </m:acc>
                      <m:d>
                        <m:d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</m:e>
                      </m:d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limLoc m:val="subSup"/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0</m:t>
                          </m:r>
                        </m:sub>
                        <m:sup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𝑇</m:t>
                          </m:r>
                        </m:sup>
                        <m:e>
                          <m:sSup>
                            <m:sSupPr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p>
                          </m:sSup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上操作对每个候选动作计算一次，选择一个最高经验性价值的动作来执行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 algn="ctr">
                  <a:buNone/>
                </a:pP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argma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x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sub>
                    </m:sSub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𝑄</m:t>
                        </m:r>
                      </m:e>
                    </m:acc>
                    <m:d>
                      <m:dPr>
                        <m:ctrlP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 dirty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 dirty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 dirty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  <m: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𝑎</m:t>
                        </m:r>
                      </m:e>
                    </m:d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7137B883-774E-6B26-D8BB-0AD79BDE18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41696"/>
                <a:ext cx="8137922" cy="4998767"/>
              </a:xfrm>
              <a:prstGeom prst="rect">
                <a:avLst/>
              </a:prstGeom>
              <a:blipFill>
                <a:blip r:embed="rId4"/>
                <a:stretch>
                  <a:fillRect l="-449" t="-732" r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37220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打靶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7137B883-774E-6B26-D8BB-0AD79BDE18A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41696"/>
                <a:ext cx="8137922" cy="238073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注：打靶法中每次动作序列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[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…, 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𝑇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]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随机采样的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点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实现十分简单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无训练开销（例如没有梯度计算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需要提前设置任务具体的时间步长度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缺点：很高的不确定性（方差大），可能无法选择到最优的动作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7137B883-774E-6B26-D8BB-0AD79BDE18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41696"/>
                <a:ext cx="8137922" cy="2380735"/>
              </a:xfrm>
              <a:prstGeom prst="rect">
                <a:avLst/>
              </a:prstGeom>
              <a:blipFill>
                <a:blip r:embed="rId4"/>
                <a:stretch>
                  <a:fillRect l="-449" t="-1538" b="-25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内容占位符 2">
            <a:extLst>
              <a:ext uri="{FF2B5EF4-FFF2-40B4-BE49-F238E27FC236}">
                <a16:creationId xmlns:a16="http://schemas.microsoft.com/office/drawing/2014/main" id="{A3EC5AA8-072B-4208-DE01-3EA80E14AE6A}"/>
              </a:ext>
            </a:extLst>
          </p:cNvPr>
          <p:cNvSpPr txBox="1">
            <a:spLocks/>
          </p:cNvSpPr>
          <p:nvPr/>
        </p:nvSpPr>
        <p:spPr>
          <a:xfrm>
            <a:off x="502441" y="3962919"/>
            <a:ext cx="4301675" cy="23807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种改进方法：交叉熵方法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ross Entropy Method,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CEM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交叉熵方法维护一个之前带来较高奖励值的动作分布，其打靶法中的随机动作序列从该动作分布中采样得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0668EBA-9627-1114-CD21-D99632CDED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65879" y="4062247"/>
            <a:ext cx="3876927" cy="194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4568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6957" y="2818892"/>
            <a:ext cx="3606098" cy="1220215"/>
          </a:xfrm>
        </p:spPr>
        <p:txBody>
          <a:bodyPr>
            <a:normAutofit/>
          </a:bodyPr>
          <a:lstStyle/>
          <a:p>
            <a:r>
              <a:rPr kumimoji="1" lang="en-US" altLang="zh-CN" dirty="0"/>
              <a:t>PETS</a:t>
            </a:r>
            <a:r>
              <a:rPr kumimoji="1" lang="zh-CN" altLang="en-US" dirty="0"/>
              <a:t>算法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0261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ETS</a:t>
            </a:r>
            <a:r>
              <a:rPr lang="zh-CN" altLang="en-US" dirty="0"/>
              <a:t>算法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7137B883-774E-6B26-D8BB-0AD79BDE18AA}"/>
              </a:ext>
            </a:extLst>
          </p:cNvPr>
          <p:cNvSpPr txBox="1">
            <a:spLocks/>
          </p:cNvSpPr>
          <p:nvPr/>
        </p:nvSpPr>
        <p:spPr>
          <a:xfrm>
            <a:off x="502442" y="1241696"/>
            <a:ext cx="8137922" cy="1149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ET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全称为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robabilistic ensembles with trajectory sampl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是使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P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一种基于模型的强化学习算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中每个单模型是一个神经网络构建的高斯过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D4CF3ADF-DB21-EC70-4FFC-225EE2B845FB}"/>
              </a:ext>
            </a:extLst>
          </p:cNvPr>
          <p:cNvSpPr txBox="1">
            <a:spLocks/>
          </p:cNvSpPr>
          <p:nvPr/>
        </p:nvSpPr>
        <p:spPr>
          <a:xfrm>
            <a:off x="502442" y="3539542"/>
            <a:ext cx="8137922" cy="4597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代表环境模型的概率集成，以刻画模型对环境的两种不确定性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70A3129B-54C0-ACD1-DC40-AF8EA564610A}"/>
              </a:ext>
            </a:extLst>
          </p:cNvPr>
          <p:cNvSpPr txBox="1">
            <a:spLocks/>
          </p:cNvSpPr>
          <p:nvPr/>
        </p:nvSpPr>
        <p:spPr>
          <a:xfrm>
            <a:off x="502442" y="4060047"/>
            <a:ext cx="4350912" cy="1001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同单模型之间的不一致性刻画出整个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E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数据缺少的区域的</a:t>
            </a:r>
            <a:r>
              <a:rPr lang="zh-CN" altLang="en-US" sz="18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认知不确定性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epistemic uncertainty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5D030DB9-FAF3-69A9-AB8E-F293951C35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354" y="2925459"/>
            <a:ext cx="3826937" cy="31466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9047DC9-130B-1DC9-ECBC-93C85AE24D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354" y="2493602"/>
            <a:ext cx="4746111" cy="314660"/>
          </a:xfrm>
          <a:prstGeom prst="rect">
            <a:avLst/>
          </a:prstGeom>
        </p:spPr>
      </p:pic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15A0A498-634A-E4AE-1450-2EB2EECEF66D}"/>
              </a:ext>
            </a:extLst>
          </p:cNvPr>
          <p:cNvSpPr txBox="1">
            <a:spLocks/>
          </p:cNvSpPr>
          <p:nvPr/>
        </p:nvSpPr>
        <p:spPr>
          <a:xfrm>
            <a:off x="1088359" y="2529253"/>
            <a:ext cx="1063998" cy="31883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6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高斯过程</a:t>
            </a:r>
            <a:endParaRPr lang="en-US" altLang="zh-CN" sz="1600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86477E4D-E892-694D-ABFE-201A724CD158}"/>
              </a:ext>
            </a:extLst>
          </p:cNvPr>
          <p:cNvSpPr txBox="1">
            <a:spLocks/>
          </p:cNvSpPr>
          <p:nvPr/>
        </p:nvSpPr>
        <p:spPr>
          <a:xfrm>
            <a:off x="1088359" y="2944152"/>
            <a:ext cx="1063998" cy="31883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6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损失</a:t>
            </a:r>
            <a:endParaRPr lang="en-US" altLang="zh-CN" sz="1600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66130283-28B7-E846-4B3C-07B90616A4AA}"/>
              </a:ext>
            </a:extLst>
          </p:cNvPr>
          <p:cNvSpPr txBox="1">
            <a:spLocks/>
          </p:cNvSpPr>
          <p:nvPr/>
        </p:nvSpPr>
        <p:spPr>
          <a:xfrm>
            <a:off x="558713" y="5316652"/>
            <a:ext cx="4428284" cy="1001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每一个高斯过程建模真实随机环境的</a:t>
            </a:r>
            <a:r>
              <a:rPr lang="zh-CN" altLang="en-US" sz="18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偶然不确定性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leatoric uncertainty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4C1542ED-765C-6BA3-8E6F-CD27A00475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5976" y="4060047"/>
            <a:ext cx="3112977" cy="2181226"/>
          </a:xfrm>
          <a:prstGeom prst="rect">
            <a:avLst/>
          </a:prstGeom>
        </p:spPr>
      </p:pic>
      <p:sp>
        <p:nvSpPr>
          <p:cNvPr id="14" name="页脚占位符 4">
            <a:extLst>
              <a:ext uri="{FF2B5EF4-FFF2-40B4-BE49-F238E27FC236}">
                <a16:creationId xmlns:a16="http://schemas.microsoft.com/office/drawing/2014/main" id="{326FF5D2-FA5A-9CD1-6984-284613CB1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3" y="6395364"/>
            <a:ext cx="4739179" cy="206381"/>
          </a:xfrm>
        </p:spPr>
        <p:txBody>
          <a:bodyPr/>
          <a:lstStyle/>
          <a:p>
            <a:r>
              <a:rPr lang="en-US" altLang="zh-CN" dirty="0"/>
              <a:t>Chua, </a:t>
            </a:r>
            <a:r>
              <a:rPr lang="en-US" altLang="zh-CN" dirty="0" err="1"/>
              <a:t>Kurtland</a:t>
            </a:r>
            <a:r>
              <a:rPr lang="en-US" altLang="zh-CN" dirty="0"/>
              <a:t>, et al. Deep reinforcement learning in a handful of trials using probabilistic dynamics models. NIPS 2018.</a:t>
            </a:r>
          </a:p>
        </p:txBody>
      </p:sp>
    </p:spTree>
    <p:extLst>
      <p:ext uri="{BB962C8B-B14F-4D97-AF65-F5344CB8AC3E}">
        <p14:creationId xmlns:p14="http://schemas.microsoft.com/office/powerpoint/2010/main" val="22688658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>
            <a:extLst>
              <a:ext uri="{FF2B5EF4-FFF2-40B4-BE49-F238E27FC236}">
                <a16:creationId xmlns:a16="http://schemas.microsoft.com/office/drawing/2014/main" id="{66158629-FD1D-F14C-EBD0-89FBB99177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646" y="4151616"/>
            <a:ext cx="7723163" cy="2116383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ETS</a:t>
            </a:r>
            <a:r>
              <a:rPr lang="zh-CN" altLang="en-US" dirty="0"/>
              <a:t>算法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7137B883-774E-6B26-D8BB-0AD79BDE18AA}"/>
              </a:ext>
            </a:extLst>
          </p:cNvPr>
          <p:cNvSpPr txBox="1">
            <a:spLocks/>
          </p:cNvSpPr>
          <p:nvPr/>
        </p:nvSpPr>
        <p:spPr>
          <a:xfrm>
            <a:off x="502442" y="1241696"/>
            <a:ext cx="8137922" cy="1149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ET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全称为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robabilistic ensembles with trajectory sampl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是使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P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一种基于模型的强化学习算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中每个单模型是一个神经网络构建的高斯过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D4CF3ADF-DB21-EC70-4FFC-225EE2B845F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338504"/>
                <a:ext cx="8137922" cy="81311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S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代表集成环境模型的轨迹采样，每一次预测我们会从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𝑁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模型中挑选一个来进行预测，因此一条轨迹的采样会使用到多个环境模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D4CF3ADF-DB21-EC70-4FFC-225EE2B845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338504"/>
                <a:ext cx="8137922" cy="813112"/>
              </a:xfrm>
              <a:prstGeom prst="rect">
                <a:avLst/>
              </a:prstGeom>
              <a:blipFill>
                <a:blip r:embed="rId5"/>
                <a:stretch>
                  <a:fillRect l="-449" t="-4511" r="-1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1" name="图片 20">
            <a:extLst>
              <a:ext uri="{FF2B5EF4-FFF2-40B4-BE49-F238E27FC236}">
                <a16:creationId xmlns:a16="http://schemas.microsoft.com/office/drawing/2014/main" id="{A9A217B5-7E30-4150-F9E1-5A8802C443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86354" y="2925459"/>
            <a:ext cx="3826937" cy="31466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E1CEEB13-D6C1-80D0-909D-3C1FBBBA38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86354" y="2493602"/>
            <a:ext cx="4746111" cy="314660"/>
          </a:xfrm>
          <a:prstGeom prst="rect">
            <a:avLst/>
          </a:prstGeom>
        </p:spPr>
      </p:pic>
      <p:sp>
        <p:nvSpPr>
          <p:cNvPr id="23" name="内容占位符 2">
            <a:extLst>
              <a:ext uri="{FF2B5EF4-FFF2-40B4-BE49-F238E27FC236}">
                <a16:creationId xmlns:a16="http://schemas.microsoft.com/office/drawing/2014/main" id="{ED80C162-F76E-A95E-7F1D-5C77885F9189}"/>
              </a:ext>
            </a:extLst>
          </p:cNvPr>
          <p:cNvSpPr txBox="1">
            <a:spLocks/>
          </p:cNvSpPr>
          <p:nvPr/>
        </p:nvSpPr>
        <p:spPr>
          <a:xfrm>
            <a:off x="1088359" y="2529253"/>
            <a:ext cx="1063998" cy="31883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6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高斯过程</a:t>
            </a:r>
            <a:endParaRPr lang="en-US" altLang="zh-CN" sz="1600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4" name="内容占位符 2">
            <a:extLst>
              <a:ext uri="{FF2B5EF4-FFF2-40B4-BE49-F238E27FC236}">
                <a16:creationId xmlns:a16="http://schemas.microsoft.com/office/drawing/2014/main" id="{2B4DE6DE-8272-7853-6420-418F6CE2B054}"/>
              </a:ext>
            </a:extLst>
          </p:cNvPr>
          <p:cNvSpPr txBox="1">
            <a:spLocks/>
          </p:cNvSpPr>
          <p:nvPr/>
        </p:nvSpPr>
        <p:spPr>
          <a:xfrm>
            <a:off x="1088359" y="2944152"/>
            <a:ext cx="1063998" cy="31883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6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损失</a:t>
            </a:r>
            <a:endParaRPr lang="en-US" altLang="zh-CN" sz="1600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5" name="页脚占位符 4">
            <a:extLst>
              <a:ext uri="{FF2B5EF4-FFF2-40B4-BE49-F238E27FC236}">
                <a16:creationId xmlns:a16="http://schemas.microsoft.com/office/drawing/2014/main" id="{88C80BF8-F63D-7154-E88F-0E2E2CDD0F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3" y="6395364"/>
            <a:ext cx="4739179" cy="206381"/>
          </a:xfrm>
        </p:spPr>
        <p:txBody>
          <a:bodyPr/>
          <a:lstStyle/>
          <a:p>
            <a:r>
              <a:rPr lang="en-US" altLang="zh-CN" dirty="0"/>
              <a:t>Chua, </a:t>
            </a:r>
            <a:r>
              <a:rPr lang="en-US" altLang="zh-CN" dirty="0" err="1"/>
              <a:t>Kurtland</a:t>
            </a:r>
            <a:r>
              <a:rPr lang="en-US" altLang="zh-CN" dirty="0"/>
              <a:t>, et al. Deep reinforcement learning in a handful of trials using probabilistic dynamics models. NIPS 2018.</a:t>
            </a:r>
          </a:p>
        </p:txBody>
      </p:sp>
    </p:spTree>
    <p:extLst>
      <p:ext uri="{BB962C8B-B14F-4D97-AF65-F5344CB8AC3E}">
        <p14:creationId xmlns:p14="http://schemas.microsoft.com/office/powerpoint/2010/main" val="15183485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9EB74706-F6D5-53B4-61F4-38E6BCABB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F6D21AE1-D2F8-B932-C387-559504271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ETS</a:t>
            </a:r>
            <a:r>
              <a:rPr lang="zh-CN" altLang="en-US" dirty="0"/>
              <a:t>算法的实验</a:t>
            </a: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558C4DF3-70CC-B964-2200-470C8170018B}"/>
              </a:ext>
            </a:extLst>
          </p:cNvPr>
          <p:cNvGrpSpPr/>
          <p:nvPr/>
        </p:nvGrpSpPr>
        <p:grpSpPr>
          <a:xfrm>
            <a:off x="844748" y="1068775"/>
            <a:ext cx="7145702" cy="5219064"/>
            <a:chOff x="760341" y="1161917"/>
            <a:chExt cx="7837515" cy="5724350"/>
          </a:xfrm>
        </p:grpSpPr>
        <p:pic>
          <p:nvPicPr>
            <p:cNvPr id="6" name="内容占位符 7">
              <a:extLst>
                <a:ext uri="{FF2B5EF4-FFF2-40B4-BE49-F238E27FC236}">
                  <a16:creationId xmlns:a16="http://schemas.microsoft.com/office/drawing/2014/main" id="{08454592-E5BC-AEA2-5DF0-8863F6BEFA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51130" b="65977"/>
            <a:stretch/>
          </p:blipFill>
          <p:spPr>
            <a:xfrm>
              <a:off x="1873320" y="1181725"/>
              <a:ext cx="2050979" cy="930872"/>
            </a:xfrm>
            <a:prstGeom prst="rect">
              <a:avLst/>
            </a:prstGeom>
          </p:spPr>
        </p:pic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9CF69338-71FA-D0B6-0EE0-211C45639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8916" y="2053286"/>
              <a:ext cx="3925013" cy="1608243"/>
            </a:xfrm>
            <a:prstGeom prst="rect">
              <a:avLst/>
            </a:prstGeom>
          </p:spPr>
        </p:pic>
        <p:pic>
          <p:nvPicPr>
            <p:cNvPr id="8" name="图片 7">
              <a:extLst>
                <a:ext uri="{FF2B5EF4-FFF2-40B4-BE49-F238E27FC236}">
                  <a16:creationId xmlns:a16="http://schemas.microsoft.com/office/drawing/2014/main" id="{A7047AF0-DAF1-8FAD-45E2-C0253176DF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72843" y="2093025"/>
              <a:ext cx="3925013" cy="1568504"/>
            </a:xfrm>
            <a:prstGeom prst="rect">
              <a:avLst/>
            </a:prstGeom>
          </p:spPr>
        </p:pic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EA0BCA0A-C4F6-84FF-12CB-585E89F935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0341" y="4700091"/>
              <a:ext cx="3925013" cy="1586313"/>
            </a:xfrm>
            <a:prstGeom prst="rect">
              <a:avLst/>
            </a:prstGeom>
          </p:spPr>
        </p:pic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87CAF94E-A91C-8BAE-CE4C-9B8BFCC79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63317" y="4653417"/>
              <a:ext cx="3925013" cy="1651239"/>
            </a:xfrm>
            <a:prstGeom prst="rect">
              <a:avLst/>
            </a:prstGeom>
          </p:spPr>
        </p:pic>
        <p:pic>
          <p:nvPicPr>
            <p:cNvPr id="11" name="内容占位符 7">
              <a:extLst>
                <a:ext uri="{FF2B5EF4-FFF2-40B4-BE49-F238E27FC236}">
                  <a16:creationId xmlns:a16="http://schemas.microsoft.com/office/drawing/2014/main" id="{258BA11C-E3DA-3DAA-CFF5-BDF1F6306D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49307" b="68658"/>
            <a:stretch/>
          </p:blipFill>
          <p:spPr>
            <a:xfrm>
              <a:off x="5667375" y="1161917"/>
              <a:ext cx="2121082" cy="854908"/>
            </a:xfrm>
            <a:prstGeom prst="rect">
              <a:avLst/>
            </a:prstGeom>
          </p:spPr>
        </p:pic>
        <p:pic>
          <p:nvPicPr>
            <p:cNvPr id="12" name="内容占位符 7">
              <a:extLst>
                <a:ext uri="{FF2B5EF4-FFF2-40B4-BE49-F238E27FC236}">
                  <a16:creationId xmlns:a16="http://schemas.microsoft.com/office/drawing/2014/main" id="{E2E596EA-D679-8D0E-B91C-E8C8C3D7A8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" t="45689" r="64241" b="23647"/>
            <a:stretch/>
          </p:blipFill>
          <p:spPr>
            <a:xfrm>
              <a:off x="2142651" y="3883381"/>
              <a:ext cx="1394293" cy="779464"/>
            </a:xfrm>
            <a:prstGeom prst="rect">
              <a:avLst/>
            </a:prstGeom>
          </p:spPr>
        </p:pic>
        <p:pic>
          <p:nvPicPr>
            <p:cNvPr id="13" name="内容占位符 7">
              <a:extLst>
                <a:ext uri="{FF2B5EF4-FFF2-40B4-BE49-F238E27FC236}">
                  <a16:creationId xmlns:a16="http://schemas.microsoft.com/office/drawing/2014/main" id="{B26FAC4A-8720-1F59-EFDD-97CC593520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47558" t="49040" b="15430"/>
            <a:stretch/>
          </p:blipFill>
          <p:spPr>
            <a:xfrm>
              <a:off x="5829300" y="3883381"/>
              <a:ext cx="1639136" cy="723953"/>
            </a:xfrm>
            <a:prstGeom prst="rect">
              <a:avLst/>
            </a:prstGeom>
          </p:spPr>
        </p:pic>
        <p:pic>
          <p:nvPicPr>
            <p:cNvPr id="14" name="图片 13">
              <a:extLst>
                <a:ext uri="{FF2B5EF4-FFF2-40B4-BE49-F238E27FC236}">
                  <a16:creationId xmlns:a16="http://schemas.microsoft.com/office/drawing/2014/main" id="{D36F4EAA-1F35-3043-61CB-B2E0A716BF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66400" y="6303103"/>
              <a:ext cx="7236000" cy="583164"/>
            </a:xfrm>
            <a:prstGeom prst="rect">
              <a:avLst/>
            </a:prstGeom>
          </p:spPr>
        </p:pic>
      </p:grpSp>
      <p:sp>
        <p:nvSpPr>
          <p:cNvPr id="17" name="页脚占位符 4">
            <a:extLst>
              <a:ext uri="{FF2B5EF4-FFF2-40B4-BE49-F238E27FC236}">
                <a16:creationId xmlns:a16="http://schemas.microsoft.com/office/drawing/2014/main" id="{8CAEBED8-A04B-80D6-4B24-19524837E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3" y="6395364"/>
            <a:ext cx="4739179" cy="206381"/>
          </a:xfrm>
        </p:spPr>
        <p:txBody>
          <a:bodyPr/>
          <a:lstStyle/>
          <a:p>
            <a:r>
              <a:rPr lang="en-US" altLang="zh-CN" dirty="0"/>
              <a:t>Chua, </a:t>
            </a:r>
            <a:r>
              <a:rPr lang="en-US" altLang="zh-CN" dirty="0" err="1"/>
              <a:t>Kurtland</a:t>
            </a:r>
            <a:r>
              <a:rPr lang="en-US" altLang="zh-CN" dirty="0"/>
              <a:t>, et al. Deep reinforcement learning in a handful of trials using probabilistic dynamics models. NIPS 2018.</a:t>
            </a:r>
          </a:p>
        </p:txBody>
      </p:sp>
    </p:spTree>
    <p:extLst>
      <p:ext uri="{BB962C8B-B14F-4D97-AF65-F5344CB8AC3E}">
        <p14:creationId xmlns:p14="http://schemas.microsoft.com/office/powerpoint/2010/main" val="12670754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于模型的策略优化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86045C2-427C-5974-B479-5D239AD1216A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531207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zh-CN" altLang="en-US" dirty="0"/>
              <a:t>复习：基于模型的强化学习</a:t>
            </a:r>
            <a:endParaRPr lang="en-US" dirty="0"/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119CDEC2-EBA6-4146-9447-81CD910F610E}"/>
              </a:ext>
            </a:extLst>
          </p:cNvPr>
          <p:cNvSpPr txBox="1">
            <a:spLocks/>
          </p:cNvSpPr>
          <p:nvPr/>
        </p:nvSpPr>
        <p:spPr>
          <a:xfrm>
            <a:off x="502442" y="1474485"/>
            <a:ext cx="8137922" cy="12579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智能体和动态环境做交互的过程，可以使用</a:t>
            </a:r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个环境模型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即一个模拟器）来替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0CB4106-9115-EF86-60AD-4EF394BB6C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4733" y="2329713"/>
            <a:ext cx="5178960" cy="2606249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F3EB92A7-E97C-B08A-E936-8ADB9A01D060}"/>
              </a:ext>
            </a:extLst>
          </p:cNvPr>
          <p:cNvSpPr/>
          <p:nvPr/>
        </p:nvSpPr>
        <p:spPr>
          <a:xfrm>
            <a:off x="1941342" y="3182816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智能体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27BD232-3FBF-53F3-A7F7-580650416DCA}"/>
              </a:ext>
            </a:extLst>
          </p:cNvPr>
          <p:cNvSpPr/>
          <p:nvPr/>
        </p:nvSpPr>
        <p:spPr>
          <a:xfrm>
            <a:off x="1941342" y="4519247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环境模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E3EB66D-BE6E-BF82-67BA-C21A60577611}"/>
                  </a:ext>
                </a:extLst>
              </p:cNvPr>
              <p:cNvSpPr txBox="1"/>
              <p:nvPr/>
            </p:nvSpPr>
            <p:spPr>
              <a:xfrm>
                <a:off x="3727938" y="2412610"/>
                <a:ext cx="90210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E3EB66D-BE6E-BF82-67BA-C21A605776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7938" y="2412610"/>
                <a:ext cx="902106" cy="369332"/>
              </a:xfrm>
              <a:prstGeom prst="rect">
                <a:avLst/>
              </a:prstGeom>
              <a:blipFill>
                <a:blip r:embed="rId6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D0C72193-4674-CE8C-3BE0-61B5FED9E71F}"/>
                  </a:ext>
                </a:extLst>
              </p:cNvPr>
              <p:cNvSpPr txBox="1"/>
              <p:nvPr/>
            </p:nvSpPr>
            <p:spPr>
              <a:xfrm>
                <a:off x="3727938" y="4334581"/>
                <a:ext cx="136640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acc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p>
                          <m: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D0C72193-4674-CE8C-3BE0-61B5FED9E7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7938" y="4334581"/>
                <a:ext cx="1366400" cy="369332"/>
              </a:xfrm>
              <a:prstGeom prst="rect">
                <a:avLst/>
              </a:prstGeom>
              <a:blipFill>
                <a:blip r:embed="rId7"/>
                <a:stretch>
                  <a:fillRect t="-4918"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94D06AAB-DC8F-D576-2643-66C3556DF02B}"/>
                  </a:ext>
                </a:extLst>
              </p:cNvPr>
              <p:cNvSpPr txBox="1"/>
              <p:nvPr/>
            </p:nvSpPr>
            <p:spPr>
              <a:xfrm>
                <a:off x="7273964" y="3329474"/>
                <a:ext cx="142769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dirty="0" smtClean="0">
                          <a:latin typeface="Cambria Math" panose="02040503050406030204" pitchFamily="18" charset="0"/>
                        </a:rPr>
                        <m:t>{</m:t>
                      </m:r>
                      <m:r>
                        <a:rPr lang="en-US" altLang="zh-CN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altLang="zh-CN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p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}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94D06AAB-DC8F-D576-2643-66C3556DF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3964" y="3329474"/>
                <a:ext cx="1427699" cy="369332"/>
              </a:xfrm>
              <a:prstGeom prst="rect">
                <a:avLst/>
              </a:prstGeom>
              <a:blipFill>
                <a:blip r:embed="rId8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矩形 18">
            <a:extLst>
              <a:ext uri="{FF2B5EF4-FFF2-40B4-BE49-F238E27FC236}">
                <a16:creationId xmlns:a16="http://schemas.microsoft.com/office/drawing/2014/main" id="{94E70A54-7ACB-2935-1D98-A77AEDB37924}"/>
              </a:ext>
            </a:extLst>
          </p:cNvPr>
          <p:cNvSpPr/>
          <p:nvPr/>
        </p:nvSpPr>
        <p:spPr>
          <a:xfrm>
            <a:off x="7412417" y="3009489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rgbClr val="00B0F0"/>
                </a:solidFill>
              </a:rPr>
              <a:t>模拟数据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79657F3E-24F3-BAFE-6EFD-82363FAD91F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059674"/>
                <a:ext cx="3556087" cy="138717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真实环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动态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79657F3E-24F3-BAFE-6EFD-82363FAD91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059674"/>
                <a:ext cx="3556087" cy="1387171"/>
              </a:xfrm>
              <a:prstGeom prst="rect">
                <a:avLst/>
              </a:prstGeom>
              <a:blipFill>
                <a:blip r:embed="rId9"/>
                <a:stretch>
                  <a:fillRect l="-1027" t="-263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8693B90F-73E3-2FFA-6F35-ADA6E867C5D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37723" y="5059674"/>
                <a:ext cx="3556087" cy="138717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环境模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动态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</m:acc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acc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8693B90F-73E3-2FFA-6F35-ADA6E867C5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37723" y="5059674"/>
                <a:ext cx="3556087" cy="1387171"/>
              </a:xfrm>
              <a:prstGeom prst="rect">
                <a:avLst/>
              </a:prstGeom>
              <a:blipFill>
                <a:blip r:embed="rId10"/>
                <a:stretch>
                  <a:fillRect l="-1027" t="-263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0657197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复习：</a:t>
            </a:r>
            <a:r>
              <a:rPr lang="en-US" altLang="zh-CN" dirty="0"/>
              <a:t>Dyna (</a:t>
            </a:r>
            <a:r>
              <a:rPr lang="zh-CN" altLang="en-US" dirty="0"/>
              <a:t>集成规划、决策和学习</a:t>
            </a:r>
            <a:r>
              <a:rPr lang="en-US" altLang="zh-CN" dirty="0"/>
              <a:t>)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矩形: 圆角 16">
                <a:extLst>
                  <a:ext uri="{FF2B5EF4-FFF2-40B4-BE49-F238E27FC236}">
                    <a16:creationId xmlns:a16="http://schemas.microsoft.com/office/drawing/2014/main" id="{02A63688-2F2F-A11B-32DE-50BED447936E}"/>
                  </a:ext>
                </a:extLst>
              </p:cNvPr>
              <p:cNvSpPr/>
              <p:nvPr/>
            </p:nvSpPr>
            <p:spPr>
              <a:xfrm>
                <a:off x="339617" y="1767384"/>
                <a:ext cx="5166192" cy="3518038"/>
              </a:xfrm>
              <a:prstGeom prst="roundRect">
                <a:avLst>
                  <a:gd name="adj" fmla="val 5023"/>
                </a:avLst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Aft>
                    <a:spcPts val="0"/>
                  </a:spcAft>
                </a:pPr>
                <a:r>
                  <a:rPr lang="zh-CN" altLang="en-US" sz="1200" dirty="0">
                    <a:solidFill>
                      <a:schemeClr val="tx1"/>
                    </a:solidFill>
                    <a:ea typeface="阿里巴巴普惠体 B" panose="00020600040101010101"/>
                  </a:rPr>
                  <a:t>算法</a:t>
                </a:r>
                <a:r>
                  <a:rPr lang="en-US" altLang="zh-CN" sz="1200" dirty="0">
                    <a:solidFill>
                      <a:schemeClr val="tx1"/>
                    </a:solidFill>
                    <a:ea typeface="阿里巴巴普惠体 B" panose="00020600040101010101"/>
                  </a:rPr>
                  <a:t>: </a:t>
                </a:r>
                <a:r>
                  <a:rPr lang="zh-CN" altLang="zh-CN" sz="1200" dirty="0">
                    <a:solidFill>
                      <a:schemeClr val="tx1"/>
                    </a:solidFill>
                    <a:ea typeface="阿里巴巴普惠体 B" panose="00020600040101010101"/>
                  </a:rPr>
                  <a:t>表格</a:t>
                </a:r>
                <a:r>
                  <a:rPr lang="en-US" altLang="zh-CN" sz="1200" dirty="0">
                    <a:solidFill>
                      <a:schemeClr val="tx1"/>
                    </a:solidFill>
                    <a:ea typeface="阿里巴巴普惠体 B" panose="00020600040101010101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200" b="1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B" panose="00020600040101010101"/>
                      </a:rPr>
                      <m:t>𝐃𝐲𝐧𝐚</m:t>
                    </m:r>
                    <m:r>
                      <a:rPr lang="en-US" altLang="zh-CN" sz="1200" b="1" i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B" panose="00020600040101010101"/>
                      </a:rPr>
                      <m:t>−</m:t>
                    </m:r>
                    <m:r>
                      <a:rPr lang="en-US" altLang="zh-CN" sz="1200" b="1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B" panose="00020600040101010101"/>
                      </a:rPr>
                      <m:t>𝐐</m:t>
                    </m:r>
                  </m:oMath>
                </a14:m>
                <a:endParaRPr lang="en-US" altLang="zh-CN" sz="1200" b="1" dirty="0">
                  <a:solidFill>
                    <a:schemeClr val="tx1"/>
                  </a:solidFill>
                  <a:ea typeface="阿里巴巴普惠体 B" panose="00020600040101010101"/>
                </a:endParaRPr>
              </a:p>
              <a:p>
                <a:pPr algn="ctr">
                  <a:spcAft>
                    <a:spcPts val="0"/>
                  </a:spcAft>
                </a:pPr>
                <a:endParaRPr lang="en-US" altLang="zh-CN" sz="1200" b="1" dirty="0">
                  <a:solidFill>
                    <a:schemeClr val="tx1"/>
                  </a:solidFill>
                  <a:ea typeface="阿里巴巴普惠体 B" panose="00020600040101010101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所有的 </a:t>
                </a:r>
                <a14:m>
                  <m:oMath xmlns:m="http://schemas.openxmlformats.org/officeDocument/2006/math"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zh-CN" altLang="zh-CN" sz="12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∈</m:t>
                    </m:r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</m:oMath>
                </a14:m>
                <a:r>
                  <a:rPr lang="en-US" altLang="zh-CN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zh-CN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en-US" altLang="zh-CN" sz="12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zh-CN" altLang="zh-CN" sz="12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∈</m:t>
                    </m:r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𝒜</m:t>
                    </m:r>
                    <m:d>
                      <m:dPr>
                        <m:ctrlPr>
                          <a:rPr lang="zh-CN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</m:d>
                    <m:r>
                      <a:rPr lang="zh-CN" altLang="en-US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初始化值函数</a:t>
                </a:r>
                <a:endParaRPr lang="en-US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</m:d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和模型 </a:t>
                </a:r>
                <a14:m>
                  <m:oMath xmlns:m="http://schemas.openxmlformats.org/officeDocument/2006/math"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𝑜𝑑𝑒𝑙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zh-CN" altLang="zh-CN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步骤</a:t>
                </a:r>
                <a:r>
                  <a:rPr lang="en-US" altLang="zh-CN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  <a:endParaRPr lang="zh-CN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200" kern="100" dirty="0">
                    <a:solidFill>
                      <a:schemeClr val="tx1"/>
                    </a:solidFill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 </a:t>
                </a:r>
                <a14:m>
                  <m:oMath xmlns:m="http://schemas.openxmlformats.org/officeDocument/2006/math"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←</m:t>
                    </m:r>
                    <m:r>
                      <a:rPr lang="zh-CN" altLang="en-US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当前</m:t>
                    </m:r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非终止）状态</a:t>
                </a:r>
                <a:endParaRPr lang="en-US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 </a:t>
                </a:r>
                <a14:m>
                  <m:oMath xmlns:m="http://schemas.openxmlformats.org/officeDocument/2006/math"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20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</m:oMath>
                </a14:m>
                <a:r>
                  <a:rPr lang="en-US" altLang="zh-CN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greedy</a:t>
                </a:r>
                <a14:m>
                  <m:oMath xmlns:m="http://schemas.openxmlformats.org/officeDocument/2006/math"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zh-CN" altLang="zh-CN" sz="1200" i="1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做动作 </a:t>
                </a:r>
                <a14:m>
                  <m:oMath xmlns:m="http://schemas.openxmlformats.org/officeDocument/2006/math"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；得到奖励</a:t>
                </a:r>
                <a14:m>
                  <m:oMath xmlns:m="http://schemas.openxmlformats.org/officeDocument/2006/math">
                    <m:r>
                      <a:rPr lang="en-US" altLang="zh-CN" sz="12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zh-CN" altLang="en-US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和</m:t>
                    </m:r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  <m:t> 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p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</m:oMath>
                </a14:m>
                <a:endParaRPr lang="en-US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 </a:t>
                </a:r>
                <a14:m>
                  <m:oMath xmlns:m="http://schemas.openxmlformats.org/officeDocument/2006/math"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zh-CN" altLang="zh-CN" sz="12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←</m:t>
                    </m:r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d>
                      <m:dPr>
                        <m:begChr m:val="["/>
                        <m:endChr m:val="]"/>
                        <m:ctrlPr>
                          <a:rPr lang="zh-CN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func>
                          <m:funcPr>
                            <m:ctrlPr>
                              <a:rPr lang="zh-CN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zh-CN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sz="1200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max</m:t>
                                </m:r>
                              </m:e>
                              <m:lim>
                                <m:r>
                                  <a:rPr lang="en-US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lim>
                            </m:limLow>
                          </m:fName>
                          <m:e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</m:func>
                        <m:d>
                          <m:dPr>
                            <m:ctrlPr>
                              <a:rPr lang="zh-CN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  <m:sup>
                                <m:r>
                                  <a:rPr lang="en-US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</m:d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  <m:d>
                          <m:dPr>
                            <m:ctrlPr>
                              <a:rPr lang="zh-CN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d>
                      </m:e>
                    </m:d>
                  </m:oMath>
                </a14:m>
                <a:endParaRPr lang="en-US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𝑜𝑑𝑒𝑙</m:t>
                    </m:r>
                    <m:d>
                      <m:dPr>
                        <m:ctrlP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 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（</m:t>
                    </m:r>
                    <m:r>
                      <a:rPr lang="zh-CN" altLang="en-US" sz="120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假设是</m:t>
                    </m:r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环境</a:t>
                </a:r>
                <a:r>
                  <a:rPr lang="en-US" altLang="zh-CN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endParaRPr lang="zh-CN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步骤</a:t>
                </a:r>
                <a14:m>
                  <m:oMath xmlns:m="http://schemas.openxmlformats.org/officeDocument/2006/math">
                    <m:r>
                      <a:rPr lang="en-US" altLang="zh-CN" sz="1200" i="1" kern="1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次</a:t>
                </a:r>
                <a:r>
                  <a:rPr lang="en-US" altLang="zh-CN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</a:p>
              <a:p>
                <a:pPr marL="1257300" lvl="2" indent="-342900" algn="just">
                  <a:buAutoNum type="alphaLcPeriod"/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2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←</m:t>
                    </m:r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随机采样之前见过的状态</a:t>
                </a:r>
                <a:endParaRPr lang="en-US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 algn="just">
                  <a:buAutoNum type="alphaLcPeriod"/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2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←</m:t>
                    </m:r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随机采样之前在状态</a:t>
                </a:r>
                <a14:m>
                  <m:oMath xmlns:m="http://schemas.openxmlformats.org/officeDocument/2006/math"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</m:oMath>
                </a14:m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做过的动作</a:t>
                </a:r>
                <a:endParaRPr lang="en-US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 algn="just">
                  <a:buAutoNum type="alphaLcPeriod"/>
                </a:pPr>
                <a:r>
                  <a:rPr lang="zh-CN" altLang="en-US" sz="12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 </a:t>
                </a:r>
                <a14:m>
                  <m:oMath xmlns:m="http://schemas.openxmlformats.org/officeDocument/2006/math"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</m:oMath>
                </a14:m>
                <a:r>
                  <a:rPr lang="zh-CN" altLang="zh-CN" sz="1200" kern="100" dirty="0">
                    <a:solidFill>
                      <a:schemeClr val="tx1"/>
                    </a:solidFill>
                    <a:ea typeface="Cambria Math" panose="02040503050406030204" pitchFamily="18" charset="0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p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← </m:t>
                    </m:r>
                    <m:r>
                      <a:rPr lang="en-US" altLang="zh-CN" sz="12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𝑜𝑑𝑒𝑙</m:t>
                    </m:r>
                    <m:d>
                      <m:dPr>
                        <m:ctrlP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2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</m:oMath>
                </a14:m>
                <a:endParaRPr lang="en-US" altLang="zh-CN" sz="1200" b="0" i="1" kern="100" dirty="0">
                  <a:solidFill>
                    <a:schemeClr val="tx1"/>
                  </a:solidFill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 algn="just">
                  <a:buAutoNum type="alphaLcPeriod"/>
                </a:pPr>
                <a14:m>
                  <m:oMath xmlns:m="http://schemas.openxmlformats.org/officeDocument/2006/math"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en-US" altLang="zh-CN" sz="12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zh-CN" altLang="zh-CN" sz="12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←</m:t>
                    </m:r>
                    <m:r>
                      <a:rPr lang="en-US" altLang="zh-CN" sz="12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sz="12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d>
                      <m:dPr>
                        <m:begChr m:val="["/>
                        <m:endChr m:val="]"/>
                        <m:ctrlPr>
                          <a:rPr lang="zh-CN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func>
                          <m:funcPr>
                            <m:ctrlPr>
                              <a:rPr lang="zh-CN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zh-CN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sz="1200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max</m:t>
                                </m:r>
                              </m:e>
                              <m:lim>
                                <m:r>
                                  <a:rPr lang="en-US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lim>
                            </m:limLow>
                          </m:fName>
                          <m:e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</m:func>
                        <m:d>
                          <m:dPr>
                            <m:ctrlPr>
                              <a:rPr lang="zh-CN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  <m:sup>
                                <m:r>
                                  <a:rPr lang="en-US" altLang="zh-CN" sz="12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</m:d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sz="12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  <m:d>
                          <m:dPr>
                            <m:ctrlPr>
                              <a:rPr lang="zh-CN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2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d>
                      </m:e>
                    </m:d>
                  </m:oMath>
                </a14:m>
                <a:endParaRPr lang="en-US" altLang="zh-CN" sz="12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7" name="矩形: 圆角 16">
                <a:extLst>
                  <a:ext uri="{FF2B5EF4-FFF2-40B4-BE49-F238E27FC236}">
                    <a16:creationId xmlns:a16="http://schemas.microsoft.com/office/drawing/2014/main" id="{02A63688-2F2F-A11B-32DE-50BED447936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617" y="1767384"/>
                <a:ext cx="5166192" cy="3518038"/>
              </a:xfrm>
              <a:prstGeom prst="roundRect">
                <a:avLst>
                  <a:gd name="adj" fmla="val 5023"/>
                </a:avLst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1" name="组合 50">
            <a:extLst>
              <a:ext uri="{FF2B5EF4-FFF2-40B4-BE49-F238E27FC236}">
                <a16:creationId xmlns:a16="http://schemas.microsoft.com/office/drawing/2014/main" id="{A37ADDB8-D61B-4293-9C3C-2916BBA58F8A}"/>
              </a:ext>
            </a:extLst>
          </p:cNvPr>
          <p:cNvGrpSpPr/>
          <p:nvPr/>
        </p:nvGrpSpPr>
        <p:grpSpPr>
          <a:xfrm>
            <a:off x="5841443" y="2237353"/>
            <a:ext cx="3194541" cy="2578099"/>
            <a:chOff x="885323" y="2210589"/>
            <a:chExt cx="4950899" cy="3961707"/>
          </a:xfrm>
        </p:grpSpPr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4B46914C-7FFB-4018-A7DB-5EAC18BC0E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689" r="6616" b="5131"/>
            <a:stretch/>
          </p:blipFill>
          <p:spPr>
            <a:xfrm>
              <a:off x="885323" y="2210589"/>
              <a:ext cx="4950899" cy="396170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DFB113A4-2758-49BE-A8B3-9A3A065DB390}"/>
                </a:ext>
              </a:extLst>
            </p:cNvPr>
            <p:cNvSpPr/>
            <p:nvPr/>
          </p:nvSpPr>
          <p:spPr>
            <a:xfrm>
              <a:off x="2571940" y="2422254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值函数</a:t>
              </a:r>
              <a:r>
                <a:rPr lang="en-US" altLang="zh-CN" sz="12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/</a:t>
              </a:r>
              <a:r>
                <a:rPr lang="zh-CN" altLang="en-US" sz="12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策略</a:t>
              </a: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66B26C4B-728C-4C7A-B044-D6B2A9A604FE}"/>
                </a:ext>
              </a:extLst>
            </p:cNvPr>
            <p:cNvSpPr/>
            <p:nvPr/>
          </p:nvSpPr>
          <p:spPr>
            <a:xfrm>
              <a:off x="3879890" y="4682611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经验</a:t>
              </a: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02F0197-8BB0-4177-80CE-2BCB67630B3C}"/>
                </a:ext>
              </a:extLst>
            </p:cNvPr>
            <p:cNvSpPr/>
            <p:nvPr/>
          </p:nvSpPr>
          <p:spPr>
            <a:xfrm>
              <a:off x="1242354" y="4700920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</a:t>
              </a: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E39CAD68-CD7F-4ECF-A752-20DEF1CA901B}"/>
                </a:ext>
              </a:extLst>
            </p:cNvPr>
            <p:cNvSpPr/>
            <p:nvPr/>
          </p:nvSpPr>
          <p:spPr>
            <a:xfrm>
              <a:off x="3578815" y="3496437"/>
              <a:ext cx="1155437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直接强化学习</a:t>
              </a: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3BE5D541-5F51-4E9B-85DD-723A41C14268}"/>
                </a:ext>
              </a:extLst>
            </p:cNvPr>
            <p:cNvSpPr/>
            <p:nvPr/>
          </p:nvSpPr>
          <p:spPr>
            <a:xfrm>
              <a:off x="3481220" y="3335363"/>
              <a:ext cx="195192" cy="55431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AC656A5B-6C81-4F8A-875C-EA2AA3A4D814}"/>
                </a:ext>
              </a:extLst>
            </p:cNvPr>
            <p:cNvSpPr/>
            <p:nvPr/>
          </p:nvSpPr>
          <p:spPr>
            <a:xfrm>
              <a:off x="4990597" y="3195459"/>
              <a:ext cx="655865" cy="560536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行动</a:t>
              </a: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8D9FC0B0-2A69-4136-8FD5-324A515CD988}"/>
                </a:ext>
              </a:extLst>
            </p:cNvPr>
            <p:cNvSpPr/>
            <p:nvPr/>
          </p:nvSpPr>
          <p:spPr>
            <a:xfrm>
              <a:off x="885323" y="2959274"/>
              <a:ext cx="836674" cy="857953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solidFill>
                    <a:srgbClr val="00B0F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一步</a:t>
              </a:r>
              <a:endParaRPr lang="en-US" altLang="zh-CN" sz="11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  <a:p>
              <a:pPr algn="ctr"/>
              <a:r>
                <a:rPr lang="zh-CN" altLang="en-US" sz="1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规划</a:t>
              </a: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A157636D-4A5C-4EC0-86AA-4431CA14DDDA}"/>
                </a:ext>
              </a:extLst>
            </p:cNvPr>
            <p:cNvSpPr/>
            <p:nvPr/>
          </p:nvSpPr>
          <p:spPr>
            <a:xfrm>
              <a:off x="2903502" y="5699038"/>
              <a:ext cx="1155438" cy="469623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学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0283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>
            <a:extLst>
              <a:ext uri="{FF2B5EF4-FFF2-40B4-BE49-F238E27FC236}">
                <a16:creationId xmlns:a16="http://schemas.microsoft.com/office/drawing/2014/main" id="{66158629-FD1D-F14C-EBD0-89FBB99177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646" y="3982164"/>
            <a:ext cx="7723163" cy="2116383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复习：</a:t>
            </a:r>
            <a:r>
              <a:rPr lang="en-US" altLang="zh-CN" dirty="0"/>
              <a:t>PETS</a:t>
            </a:r>
            <a:r>
              <a:rPr lang="zh-CN" altLang="en-US" dirty="0"/>
              <a:t>算法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7137B883-774E-6B26-D8BB-0AD79BDE18AA}"/>
              </a:ext>
            </a:extLst>
          </p:cNvPr>
          <p:cNvSpPr txBox="1">
            <a:spLocks/>
          </p:cNvSpPr>
          <p:nvPr/>
        </p:nvSpPr>
        <p:spPr>
          <a:xfrm>
            <a:off x="502442" y="1241696"/>
            <a:ext cx="8137922" cy="1149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ET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全称为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robabilistic ensembles with trajectory sampl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是使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P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一种基于模型的强化学习算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中每个单模型是一个神经网络构建的高斯过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D4CF3ADF-DB21-EC70-4FFC-225EE2B845F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182035"/>
                <a:ext cx="8137922" cy="81311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S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代表集成环境模型的轨迹采样，每一次预测我们会从</a:t>
                </a:r>
                <a14:m>
                  <m:oMath xmlns:m="http://schemas.openxmlformats.org/officeDocument/2006/math">
                    <m:r>
                      <a:rPr lang="en-US" altLang="zh-CN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𝑁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模型中挑选一个来进行预测，因此一条轨迹的采样会使用到多个环境模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D4CF3ADF-DB21-EC70-4FFC-225EE2B845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182035"/>
                <a:ext cx="8137922" cy="813112"/>
              </a:xfrm>
              <a:prstGeom prst="rect">
                <a:avLst/>
              </a:prstGeom>
              <a:blipFill>
                <a:blip r:embed="rId5"/>
                <a:stretch>
                  <a:fillRect l="-449" t="-4511" r="-1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6AD5B4B1-A7F9-AD65-1040-29E177CC30EC}"/>
              </a:ext>
            </a:extLst>
          </p:cNvPr>
          <p:cNvSpPr txBox="1">
            <a:spLocks/>
          </p:cNvSpPr>
          <p:nvPr/>
        </p:nvSpPr>
        <p:spPr>
          <a:xfrm>
            <a:off x="502441" y="2722261"/>
            <a:ext cx="8521983" cy="4597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代表环境模型的概率集成，以刻画模型对环境的两种不确定性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1" name="页脚占位符 4">
            <a:extLst>
              <a:ext uri="{FF2B5EF4-FFF2-40B4-BE49-F238E27FC236}">
                <a16:creationId xmlns:a16="http://schemas.microsoft.com/office/drawing/2014/main" id="{9C85B4C9-A7E2-8217-5967-009446980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3" y="6395364"/>
            <a:ext cx="4739179" cy="206381"/>
          </a:xfrm>
        </p:spPr>
        <p:txBody>
          <a:bodyPr/>
          <a:lstStyle/>
          <a:p>
            <a:r>
              <a:rPr lang="en-US" altLang="zh-CN" dirty="0"/>
              <a:t>Chua, </a:t>
            </a:r>
            <a:r>
              <a:rPr lang="en-US" altLang="zh-CN" dirty="0" err="1"/>
              <a:t>Kurtland</a:t>
            </a:r>
            <a:r>
              <a:rPr lang="en-US" altLang="zh-CN" dirty="0"/>
              <a:t>, et al. Deep reinforcement learning in a handful of trials using probabilistic dynamics models. NIPS 2018.</a:t>
            </a:r>
          </a:p>
        </p:txBody>
      </p:sp>
    </p:spTree>
    <p:extLst>
      <p:ext uri="{BB962C8B-B14F-4D97-AF65-F5344CB8AC3E}">
        <p14:creationId xmlns:p14="http://schemas.microsoft.com/office/powerpoint/2010/main" val="19445755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强化学习、探索与利用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MDP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和动态规划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值函数估计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规划与学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参数化的值函数和策略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FF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FF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4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多智能体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36996091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>
            <a:extLst>
              <a:ext uri="{FF2B5EF4-FFF2-40B4-BE49-F238E27FC236}">
                <a16:creationId xmlns:a16="http://schemas.microsoft.com/office/drawing/2014/main" id="{66158629-FD1D-F14C-EBD0-89FBB99177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646" y="3982164"/>
            <a:ext cx="7723163" cy="2116383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思考问题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7137B883-774E-6B26-D8BB-0AD79BDE18AA}"/>
              </a:ext>
            </a:extLst>
          </p:cNvPr>
          <p:cNvSpPr txBox="1">
            <a:spLocks/>
          </p:cNvSpPr>
          <p:nvPr/>
        </p:nvSpPr>
        <p:spPr>
          <a:xfrm>
            <a:off x="502442" y="1529548"/>
            <a:ext cx="8137922" cy="7966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问题：如果将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ET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类的多步模拟数据用于训练智能体策略或价值函数，会怎么样？是否能提升智能体学习的样本效率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C5EDC07-EE29-FCDB-0310-254F1F0A316F}"/>
              </a:ext>
            </a:extLst>
          </p:cNvPr>
          <p:cNvSpPr txBox="1"/>
          <p:nvPr/>
        </p:nvSpPr>
        <p:spPr>
          <a:xfrm>
            <a:off x="7239000" y="4260334"/>
            <a:ext cx="1063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ETS</a:t>
            </a:r>
            <a:endParaRPr lang="zh-CN" altLang="en-US" sz="2400" dirty="0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CB99816F-C038-B94E-97D0-B91A88F1179F}"/>
              </a:ext>
            </a:extLst>
          </p:cNvPr>
          <p:cNvGrpSpPr/>
          <p:nvPr/>
        </p:nvGrpSpPr>
        <p:grpSpPr>
          <a:xfrm>
            <a:off x="1002030" y="2724948"/>
            <a:ext cx="1188720" cy="1108808"/>
            <a:chOff x="1941342" y="2425700"/>
            <a:chExt cx="1188720" cy="1108808"/>
          </a:xfrm>
        </p:grpSpPr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241E9E9B-9B6D-4BA0-C936-A80061D121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441" t="3683" r="77047" b="57821"/>
            <a:stretch/>
          </p:blipFill>
          <p:spPr>
            <a:xfrm>
              <a:off x="2044699" y="2425700"/>
              <a:ext cx="958753" cy="1003300"/>
            </a:xfrm>
            <a:prstGeom prst="rect">
              <a:avLst/>
            </a:prstGeom>
          </p:spPr>
        </p:pic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9DBF8C9D-37BE-8D36-45E4-BE2ACEBA8F4B}"/>
                </a:ext>
              </a:extLst>
            </p:cNvPr>
            <p:cNvSpPr/>
            <p:nvPr/>
          </p:nvSpPr>
          <p:spPr>
            <a:xfrm>
              <a:off x="1941342" y="3182816"/>
              <a:ext cx="1188720" cy="3516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</a:rPr>
                <a:t>智能体</a:t>
              </a:r>
            </a:p>
          </p:txBody>
        </p:sp>
      </p:grpSp>
      <p:sp>
        <p:nvSpPr>
          <p:cNvPr id="8" name="矩形 7">
            <a:extLst>
              <a:ext uri="{FF2B5EF4-FFF2-40B4-BE49-F238E27FC236}">
                <a16:creationId xmlns:a16="http://schemas.microsoft.com/office/drawing/2014/main" id="{074DAC07-F2F4-C210-507B-4004EB2A30E8}"/>
              </a:ext>
            </a:extLst>
          </p:cNvPr>
          <p:cNvSpPr/>
          <p:nvPr/>
        </p:nvSpPr>
        <p:spPr>
          <a:xfrm>
            <a:off x="2286000" y="3840247"/>
            <a:ext cx="3206750" cy="1303253"/>
          </a:xfrm>
          <a:prstGeom prst="rect">
            <a:avLst/>
          </a:prstGeom>
          <a:noFill/>
          <a:ln w="1905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" name="连接符: 肘形 15">
            <a:extLst>
              <a:ext uri="{FF2B5EF4-FFF2-40B4-BE49-F238E27FC236}">
                <a16:creationId xmlns:a16="http://schemas.microsoft.com/office/drawing/2014/main" id="{456570E4-1FA8-B20E-131E-947D62367493}"/>
              </a:ext>
            </a:extLst>
          </p:cNvPr>
          <p:cNvCxnSpPr>
            <a:stCxn id="8" idx="0"/>
            <a:endCxn id="11" idx="3"/>
          </p:cNvCxnSpPr>
          <p:nvPr/>
        </p:nvCxnSpPr>
        <p:spPr>
          <a:xfrm rot="16200000" flipV="1">
            <a:off x="2669934" y="2620805"/>
            <a:ext cx="613649" cy="1825235"/>
          </a:xfrm>
          <a:prstGeom prst="bentConnector2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50DA4826-9937-C9F6-6341-E712833547D7}"/>
              </a:ext>
            </a:extLst>
          </p:cNvPr>
          <p:cNvCxnSpPr>
            <a:stCxn id="13" idx="2"/>
          </p:cNvCxnSpPr>
          <p:nvPr/>
        </p:nvCxnSpPr>
        <p:spPr>
          <a:xfrm>
            <a:off x="1596390" y="3833756"/>
            <a:ext cx="0" cy="75094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0A5C5FAB-1544-D164-CC1B-EDE3E7B50F8E}"/>
              </a:ext>
            </a:extLst>
          </p:cNvPr>
          <p:cNvSpPr txBox="1"/>
          <p:nvPr/>
        </p:nvSpPr>
        <p:spPr>
          <a:xfrm>
            <a:off x="4097959" y="3141258"/>
            <a:ext cx="28785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模拟数据训练智能体</a:t>
            </a:r>
            <a:endParaRPr lang="zh-CN" altLang="en-US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3212114E-C5C0-01E4-06D4-5EA716A66A0D}"/>
              </a:ext>
            </a:extLst>
          </p:cNvPr>
          <p:cNvSpPr txBox="1"/>
          <p:nvPr/>
        </p:nvSpPr>
        <p:spPr>
          <a:xfrm>
            <a:off x="166899" y="3954741"/>
            <a:ext cx="14392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智能体决策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921457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分支推演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7137B883-774E-6B26-D8BB-0AD79BDE18A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355298"/>
                <a:ext cx="8137922" cy="117570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支推演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ranched Rollout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之前策略采样的真实轨迹中随机选择一个状态作为起点，使用环境模型和智能体当前策略做交互，采样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步得到一条分支轨迹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7137B883-774E-6B26-D8BB-0AD79BDE18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355298"/>
                <a:ext cx="8137922" cy="1175704"/>
              </a:xfrm>
              <a:prstGeom prst="rect">
                <a:avLst/>
              </a:prstGeom>
              <a:blipFill>
                <a:blip r:embed="rId4"/>
                <a:stretch>
                  <a:fillRect l="-449" t="-25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>
            <a:extLst>
              <a:ext uri="{FF2B5EF4-FFF2-40B4-BE49-F238E27FC236}">
                <a16:creationId xmlns:a16="http://schemas.microsoft.com/office/drawing/2014/main" id="{14E42707-4084-1AC7-26B8-620B926989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465" y="2616963"/>
            <a:ext cx="7437070" cy="171003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4D0F4C7E-8D44-1629-E99F-6D594C50C7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181600"/>
                <a:ext cx="8137922" cy="5307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yna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算法可以看出是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1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的分支推演特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4D0F4C7E-8D44-1629-E99F-6D594C50C7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181600"/>
                <a:ext cx="8137922" cy="530752"/>
              </a:xfrm>
              <a:prstGeom prst="rect">
                <a:avLst/>
              </a:prstGeom>
              <a:blipFill>
                <a:blip r:embed="rId6"/>
                <a:stretch>
                  <a:fillRect l="-449" t="-57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内容占位符 2">
            <a:extLst>
              <a:ext uri="{FF2B5EF4-FFF2-40B4-BE49-F238E27FC236}">
                <a16:creationId xmlns:a16="http://schemas.microsoft.com/office/drawing/2014/main" id="{7267DDA9-22AD-6CC6-2A95-13EA13339E1B}"/>
              </a:ext>
            </a:extLst>
          </p:cNvPr>
          <p:cNvSpPr txBox="1">
            <a:spLocks/>
          </p:cNvSpPr>
          <p:nvPr/>
        </p:nvSpPr>
        <p:spPr>
          <a:xfrm>
            <a:off x="502442" y="4639624"/>
            <a:ext cx="8137922" cy="5307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真实数据和推演数据共同训练智能体的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1" name="页脚占位符 4">
            <a:extLst>
              <a:ext uri="{FF2B5EF4-FFF2-40B4-BE49-F238E27FC236}">
                <a16:creationId xmlns:a16="http://schemas.microsoft.com/office/drawing/2014/main" id="{5D071D57-9386-E1F6-66DC-69A72D51B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2" y="6357273"/>
            <a:ext cx="6226837" cy="206381"/>
          </a:xfrm>
        </p:spPr>
        <p:txBody>
          <a:bodyPr/>
          <a:lstStyle/>
          <a:p>
            <a:r>
              <a:rPr lang="en-US" altLang="zh-CN" dirty="0"/>
              <a:t>Janner, Michael, et al. When to Trust Your Model: Model-Based Policy Optimization. NIPS 2019.c</a:t>
            </a:r>
          </a:p>
        </p:txBody>
      </p:sp>
    </p:spTree>
    <p:extLst>
      <p:ext uri="{BB962C8B-B14F-4D97-AF65-F5344CB8AC3E}">
        <p14:creationId xmlns:p14="http://schemas.microsoft.com/office/powerpoint/2010/main" val="32372962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分支推演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7137B883-774E-6B26-D8BB-0AD79BDE18A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355298"/>
                <a:ext cx="8137922" cy="117570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支推演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ranched Rollout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之前策略采样的真实轨迹中随机选择一个状态作为起点，使用环境模型和智能体当前策略做交互，采样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步得到一条分支轨迹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7137B883-774E-6B26-D8BB-0AD79BDE18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355298"/>
                <a:ext cx="8137922" cy="1175704"/>
              </a:xfrm>
              <a:prstGeom prst="rect">
                <a:avLst/>
              </a:prstGeom>
              <a:blipFill>
                <a:blip r:embed="rId4"/>
                <a:stretch>
                  <a:fillRect l="-449" t="-25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页脚占位符 4">
            <a:extLst>
              <a:ext uri="{FF2B5EF4-FFF2-40B4-BE49-F238E27FC236}">
                <a16:creationId xmlns:a16="http://schemas.microsoft.com/office/drawing/2014/main" id="{6B14E05D-BA03-3EFE-E2CF-ED9ACB7AF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2" y="6357273"/>
            <a:ext cx="6226837" cy="206381"/>
          </a:xfrm>
        </p:spPr>
        <p:txBody>
          <a:bodyPr/>
          <a:lstStyle/>
          <a:p>
            <a:r>
              <a:rPr lang="en-US" altLang="zh-CN" dirty="0"/>
              <a:t>Janner, Michael, et al. When to Trust Your Model: Model-Based Policy Optimization. NIPS 2019.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4E42707-4084-1AC7-26B8-620B926989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465" y="2616963"/>
            <a:ext cx="7437070" cy="1710036"/>
          </a:xfrm>
          <a:prstGeom prst="rect">
            <a:avLst/>
          </a:prstGeom>
        </p:spPr>
      </p:pic>
      <p:sp>
        <p:nvSpPr>
          <p:cNvPr id="21" name="内容占位符 2">
            <a:extLst>
              <a:ext uri="{FF2B5EF4-FFF2-40B4-BE49-F238E27FC236}">
                <a16:creationId xmlns:a16="http://schemas.microsoft.com/office/drawing/2014/main" id="{4D0F4C7E-8D44-1629-E99F-6D594C50C781}"/>
              </a:ext>
            </a:extLst>
          </p:cNvPr>
          <p:cNvSpPr txBox="1">
            <a:spLocks/>
          </p:cNvSpPr>
          <p:nvPr/>
        </p:nvSpPr>
        <p:spPr>
          <a:xfrm>
            <a:off x="502442" y="5181600"/>
            <a:ext cx="8137922" cy="5307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7267DDA9-22AD-6CC6-2A95-13EA13339E1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386792"/>
                <a:ext cx="8137922" cy="132556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ea typeface="阿里巴巴普惠体 R" panose="00020600040101010101" pitchFamily="18" charset="-122"/>
                  </a:rPr>
                  <a:t>使用真实数据和推演数据共同训练智能体的策略</a:t>
                </a:r>
                <a:endParaRPr lang="en-US" altLang="zh-CN" dirty="0">
                  <a:ea typeface="阿里巴巴普惠体 R" panose="00020600040101010101" pitchFamily="18" charset="-122"/>
                </a:endParaRPr>
              </a:p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yna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算法可以看出是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1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的分支推演特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越大，推演的数据也不准，价值越低；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越小，算法样本效率越低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7267DDA9-22AD-6CC6-2A95-13EA13339E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386792"/>
                <a:ext cx="8137922" cy="1325560"/>
              </a:xfrm>
              <a:prstGeom prst="rect">
                <a:avLst/>
              </a:prstGeom>
              <a:blipFill>
                <a:blip r:embed="rId6"/>
                <a:stretch>
                  <a:fillRect l="-449" t="-2765" b="-36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0F70093C-B526-7BF4-DD4A-5074E8EBC8B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698488"/>
                <a:ext cx="8137922" cy="5307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问题：当环境模型不可避免地有一定不准确度时，如何做好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选择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0F70093C-B526-7BF4-DD4A-5074E8EBC8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698488"/>
                <a:ext cx="8137922" cy="530752"/>
              </a:xfrm>
              <a:prstGeom prst="rect">
                <a:avLst/>
              </a:prstGeom>
              <a:blipFill>
                <a:blip r:embed="rId7"/>
                <a:stretch>
                  <a:fillRect l="-449" t="-6897" r="-38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881580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基于模型的强化学习中对策略价值误差的分析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7137B883-774E-6B26-D8BB-0AD79BDE18AA}"/>
              </a:ext>
            </a:extLst>
          </p:cNvPr>
          <p:cNvSpPr txBox="1">
            <a:spLocks/>
          </p:cNvSpPr>
          <p:nvPr/>
        </p:nvSpPr>
        <p:spPr>
          <a:xfrm>
            <a:off x="502442" y="1317452"/>
            <a:ext cx="8137922" cy="4801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价值误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6" name="内容占位符 2">
            <a:extLst>
              <a:ext uri="{FF2B5EF4-FFF2-40B4-BE49-F238E27FC236}">
                <a16:creationId xmlns:a16="http://schemas.microsoft.com/office/drawing/2014/main" id="{73003BFC-EE45-7CDE-105E-1209EB1B4CEB}"/>
              </a:ext>
            </a:extLst>
          </p:cNvPr>
          <p:cNvSpPr txBox="1">
            <a:spLocks/>
          </p:cNvSpPr>
          <p:nvPr/>
        </p:nvSpPr>
        <p:spPr>
          <a:xfrm>
            <a:off x="502442" y="2494330"/>
            <a:ext cx="8137922" cy="4801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价值误差和算法样本效率之间的关系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4301CA60-895C-FC46-CAF9-6A325AC13BBD}"/>
                  </a:ext>
                </a:extLst>
              </p:cNvPr>
              <p:cNvSpPr txBox="1"/>
              <p:nvPr/>
            </p:nvSpPr>
            <p:spPr>
              <a:xfrm>
                <a:off x="641690" y="3141466"/>
                <a:ext cx="3427389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价值误差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𝜂</m:t>
                    </m:r>
                    <m:d>
                      <m:dPr>
                        <m:begChr m:val="["/>
                        <m:endChr m:val="]"/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̂"/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𝜂</m:t>
                        </m:r>
                      </m:e>
                    </m:acc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[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𝜋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]|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越低</a:t>
                </a:r>
                <a:endParaRPr lang="zh-CN" altLang="en-US" dirty="0"/>
              </a:p>
            </p:txBody>
          </p:sp>
        </mc:Choice>
        <mc:Fallback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4301CA60-895C-FC46-CAF9-6A325AC13B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690" y="3141466"/>
                <a:ext cx="3427389" cy="369332"/>
              </a:xfrm>
              <a:prstGeom prst="rect">
                <a:avLst/>
              </a:prstGeom>
              <a:blipFill>
                <a:blip r:embed="rId2"/>
                <a:stretch>
                  <a:fillRect l="-1423" t="-8197" b="-2459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箭头: 下 29">
            <a:extLst>
              <a:ext uri="{FF2B5EF4-FFF2-40B4-BE49-F238E27FC236}">
                <a16:creationId xmlns:a16="http://schemas.microsoft.com/office/drawing/2014/main" id="{40EE01DC-0A62-67E1-8E2A-DFCB6DA210BB}"/>
              </a:ext>
            </a:extLst>
          </p:cNvPr>
          <p:cNvSpPr/>
          <p:nvPr/>
        </p:nvSpPr>
        <p:spPr>
          <a:xfrm rot="16200000">
            <a:off x="4125480" y="3203964"/>
            <a:ext cx="232013" cy="252766"/>
          </a:xfrm>
          <a:prstGeom prst="downArrow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0000"/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C884320A-2BED-73D4-F48E-D8CD308F491C}"/>
              </a:ext>
            </a:extLst>
          </p:cNvPr>
          <p:cNvSpPr txBox="1"/>
          <p:nvPr/>
        </p:nvSpPr>
        <p:spPr>
          <a:xfrm>
            <a:off x="4413594" y="3141466"/>
            <a:ext cx="23072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多使用模型做推演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2" name="箭头: 下 31">
            <a:extLst>
              <a:ext uri="{FF2B5EF4-FFF2-40B4-BE49-F238E27FC236}">
                <a16:creationId xmlns:a16="http://schemas.microsoft.com/office/drawing/2014/main" id="{07F2E5F0-5470-75E4-22CB-0152222E98E2}"/>
              </a:ext>
            </a:extLst>
          </p:cNvPr>
          <p:cNvSpPr/>
          <p:nvPr/>
        </p:nvSpPr>
        <p:spPr>
          <a:xfrm rot="16200000">
            <a:off x="6738166" y="3203964"/>
            <a:ext cx="232013" cy="252766"/>
          </a:xfrm>
          <a:prstGeom prst="downArrow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0000"/>
              </a:solidFill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123EFB6-3102-0869-05E4-4341AE89BE70}"/>
              </a:ext>
            </a:extLst>
          </p:cNvPr>
          <p:cNvSpPr txBox="1"/>
          <p:nvPr/>
        </p:nvSpPr>
        <p:spPr>
          <a:xfrm>
            <a:off x="7065353" y="3141466"/>
            <a:ext cx="16976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样本效率更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4" name="内容占位符 2">
            <a:extLst>
              <a:ext uri="{FF2B5EF4-FFF2-40B4-BE49-F238E27FC236}">
                <a16:creationId xmlns:a16="http://schemas.microsoft.com/office/drawing/2014/main" id="{D2734DC7-7153-D6CE-805F-C4C1AF814B9A}"/>
              </a:ext>
            </a:extLst>
          </p:cNvPr>
          <p:cNvSpPr txBox="1">
            <a:spLocks/>
          </p:cNvSpPr>
          <p:nvPr/>
        </p:nvSpPr>
        <p:spPr>
          <a:xfrm>
            <a:off x="502442" y="3888038"/>
            <a:ext cx="8137922" cy="4801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价值误差与模型泛化误差以及策略偏移程度之间的定量关系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文本框 35">
                <a:extLst>
                  <a:ext uri="{FF2B5EF4-FFF2-40B4-BE49-F238E27FC236}">
                    <a16:creationId xmlns:a16="http://schemas.microsoft.com/office/drawing/2014/main" id="{EE685E6F-9649-5F6B-3348-6F3709EAEB71}"/>
                  </a:ext>
                </a:extLst>
              </p:cNvPr>
              <p:cNvSpPr txBox="1"/>
              <p:nvPr/>
            </p:nvSpPr>
            <p:spPr>
              <a:xfrm>
                <a:off x="5673846" y="4628291"/>
                <a:ext cx="3409193" cy="101566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2000" dirty="0"/>
                  <a:t>基于模型的强化学习思路：</a:t>
                </a:r>
                <a:endParaRPr lang="en-US" altLang="zh-CN" sz="2000" dirty="0"/>
              </a:p>
              <a:p>
                <a:pPr marL="457200" indent="-457200">
                  <a:buAutoNum type="arabicPeriod"/>
                </a:pPr>
                <a:r>
                  <a:rPr lang="zh-CN" altLang="en-US" sz="2000" dirty="0"/>
                  <a:t>推导策略价值误差界</a:t>
                </a:r>
                <a14:m>
                  <m:oMath xmlns:m="http://schemas.openxmlformats.org/officeDocument/2006/math">
                    <m:r>
                      <a:rPr lang="en-US" altLang="zh-CN" sz="2000" i="1" dirty="0" smtClean="0">
                        <a:latin typeface="Cambria Math" panose="02040503050406030204" pitchFamily="18" charset="0"/>
                      </a:rPr>
                      <m:t>𝐶</m:t>
                    </m:r>
                  </m:oMath>
                </a14:m>
                <a:endParaRPr lang="en-US" altLang="zh-CN" sz="2000" dirty="0"/>
              </a:p>
              <a:p>
                <a:pPr marL="457200" indent="-457200">
                  <a:buAutoNum type="arabicPeriod"/>
                </a:pPr>
                <a:r>
                  <a:rPr lang="zh-CN" altLang="en-US" sz="2000" dirty="0"/>
                  <a:t>设计算法降低</a:t>
                </a:r>
                <a14:m>
                  <m:oMath xmlns:m="http://schemas.openxmlformats.org/officeDocument/2006/math">
                    <m:r>
                      <a:rPr lang="en-US" altLang="zh-CN" sz="2000" i="1" dirty="0" smtClean="0">
                        <a:latin typeface="Cambria Math" panose="02040503050406030204" pitchFamily="18" charset="0"/>
                      </a:rPr>
                      <m:t>𝐶</m:t>
                    </m:r>
                  </m:oMath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36" name="文本框 35">
                <a:extLst>
                  <a:ext uri="{FF2B5EF4-FFF2-40B4-BE49-F238E27FC236}">
                    <a16:creationId xmlns:a16="http://schemas.microsoft.com/office/drawing/2014/main" id="{EE685E6F-9649-5F6B-3348-6F3709EAEB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3846" y="4628291"/>
                <a:ext cx="3409193" cy="1015663"/>
              </a:xfrm>
              <a:prstGeom prst="rect">
                <a:avLst/>
              </a:prstGeom>
              <a:blipFill>
                <a:blip r:embed="rId7"/>
                <a:stretch>
                  <a:fillRect l="-1968" t="-2994" b="-958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1" name="组合 40">
            <a:extLst>
              <a:ext uri="{FF2B5EF4-FFF2-40B4-BE49-F238E27FC236}">
                <a16:creationId xmlns:a16="http://schemas.microsoft.com/office/drawing/2014/main" id="{83976F1F-3AAE-330C-D0C6-03A925998383}"/>
              </a:ext>
            </a:extLst>
          </p:cNvPr>
          <p:cNvGrpSpPr/>
          <p:nvPr/>
        </p:nvGrpSpPr>
        <p:grpSpPr>
          <a:xfrm>
            <a:off x="4224491" y="4853454"/>
            <a:ext cx="445538" cy="433965"/>
            <a:chOff x="4640664" y="4933666"/>
            <a:chExt cx="525439" cy="511791"/>
          </a:xfrm>
        </p:grpSpPr>
        <p:cxnSp>
          <p:nvCxnSpPr>
            <p:cNvPr id="37" name="直接箭头连接符 36">
              <a:extLst>
                <a:ext uri="{FF2B5EF4-FFF2-40B4-BE49-F238E27FC236}">
                  <a16:creationId xmlns:a16="http://schemas.microsoft.com/office/drawing/2014/main" id="{D41D7141-F3E8-A65B-6A72-BA76290105E2}"/>
                </a:ext>
              </a:extLst>
            </p:cNvPr>
            <p:cNvCxnSpPr/>
            <p:nvPr/>
          </p:nvCxnSpPr>
          <p:spPr>
            <a:xfrm flipV="1">
              <a:off x="4640664" y="4933666"/>
              <a:ext cx="0" cy="51179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箭头连接符 38">
              <a:extLst>
                <a:ext uri="{FF2B5EF4-FFF2-40B4-BE49-F238E27FC236}">
                  <a16:creationId xmlns:a16="http://schemas.microsoft.com/office/drawing/2014/main" id="{778B8A60-A334-AF2A-E821-613723398F82}"/>
                </a:ext>
              </a:extLst>
            </p:cNvPr>
            <p:cNvCxnSpPr/>
            <p:nvPr/>
          </p:nvCxnSpPr>
          <p:spPr>
            <a:xfrm flipV="1">
              <a:off x="5166103" y="4933666"/>
              <a:ext cx="0" cy="51179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文本框 41">
            <a:extLst>
              <a:ext uri="{FF2B5EF4-FFF2-40B4-BE49-F238E27FC236}">
                <a16:creationId xmlns:a16="http://schemas.microsoft.com/office/drawing/2014/main" id="{7A8DE553-09E9-76CD-A072-3E35C4FFCC0E}"/>
              </a:ext>
            </a:extLst>
          </p:cNvPr>
          <p:cNvSpPr txBox="1"/>
          <p:nvPr/>
        </p:nvSpPr>
        <p:spPr>
          <a:xfrm>
            <a:off x="3388629" y="5343306"/>
            <a:ext cx="129730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泛化</a:t>
            </a:r>
            <a:endParaRPr lang="en-US" altLang="zh-CN" sz="1400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algn="ctr"/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误差</a:t>
            </a:r>
            <a:endParaRPr lang="zh-CN" altLang="en-US" sz="1400" dirty="0"/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8F3D0999-5790-97BE-67EB-6CA90FAD5425}"/>
              </a:ext>
            </a:extLst>
          </p:cNvPr>
          <p:cNvSpPr txBox="1"/>
          <p:nvPr/>
        </p:nvSpPr>
        <p:spPr>
          <a:xfrm>
            <a:off x="4354469" y="5343306"/>
            <a:ext cx="9576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偏移</a:t>
            </a:r>
            <a:endParaRPr lang="en-US" altLang="zh-CN" sz="1400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algn="ctr"/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程度</a:t>
            </a:r>
            <a:endParaRPr lang="zh-CN" altLang="en-US" sz="1400" dirty="0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0B12131D-007F-C813-FEC1-F342E34B99FE}"/>
              </a:ext>
            </a:extLst>
          </p:cNvPr>
          <p:cNvSpPr txBox="1"/>
          <p:nvPr/>
        </p:nvSpPr>
        <p:spPr>
          <a:xfrm>
            <a:off x="2002189" y="1874833"/>
            <a:ext cx="129730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在真实环境中的价值</a:t>
            </a:r>
            <a:endParaRPr lang="zh-CN" altLang="en-US" sz="1400" dirty="0"/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88693B55-A13E-87ED-EAC5-02294E0A6735}"/>
              </a:ext>
            </a:extLst>
          </p:cNvPr>
          <p:cNvSpPr txBox="1"/>
          <p:nvPr/>
        </p:nvSpPr>
        <p:spPr>
          <a:xfrm>
            <a:off x="3328253" y="1874833"/>
            <a:ext cx="13417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在环境模型中的价值</a:t>
            </a:r>
            <a:endParaRPr lang="zh-CN" altLang="en-US" sz="1400" dirty="0"/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7457E1E6-0478-B076-EAB3-9D440EB309CB}"/>
              </a:ext>
            </a:extLst>
          </p:cNvPr>
          <p:cNvCxnSpPr/>
          <p:nvPr/>
        </p:nvCxnSpPr>
        <p:spPr>
          <a:xfrm flipV="1">
            <a:off x="2736979" y="1700046"/>
            <a:ext cx="0" cy="20634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>
            <a:extLst>
              <a:ext uri="{FF2B5EF4-FFF2-40B4-BE49-F238E27FC236}">
                <a16:creationId xmlns:a16="http://schemas.microsoft.com/office/drawing/2014/main" id="{9216DB08-45C9-B4C5-A4A4-DF3F1FD87525}"/>
              </a:ext>
            </a:extLst>
          </p:cNvPr>
          <p:cNvCxnSpPr/>
          <p:nvPr/>
        </p:nvCxnSpPr>
        <p:spPr>
          <a:xfrm flipV="1">
            <a:off x="3570098" y="1700046"/>
            <a:ext cx="0" cy="20634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页脚占位符 4">
            <a:extLst>
              <a:ext uri="{FF2B5EF4-FFF2-40B4-BE49-F238E27FC236}">
                <a16:creationId xmlns:a16="http://schemas.microsoft.com/office/drawing/2014/main" id="{6CB82462-7B22-D091-1FAA-9394DF58DD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2" y="6357273"/>
            <a:ext cx="6226837" cy="206381"/>
          </a:xfrm>
        </p:spPr>
        <p:txBody>
          <a:bodyPr/>
          <a:lstStyle/>
          <a:p>
            <a:r>
              <a:rPr lang="en-US" altLang="zh-CN" dirty="0"/>
              <a:t>Janner, Michael, et al. When to Trust Your Model: Model-Based Policy Optimization. NIPS 2019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AA4C9D64-D151-5D3B-C0F4-C1435DF87325}"/>
                  </a:ext>
                </a:extLst>
              </p:cNvPr>
              <p:cNvSpPr txBox="1"/>
              <p:nvPr/>
            </p:nvSpPr>
            <p:spPr>
              <a:xfrm>
                <a:off x="2386519" y="1329447"/>
                <a:ext cx="153336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𝜂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−</m:t>
                      </m:r>
                      <m:acc>
                        <m:accPr>
                          <m:chr m:val="̂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𝜂</m:t>
                          </m:r>
                        </m:e>
                      </m:acc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[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]|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AA4C9D64-D151-5D3B-C0F4-C1435DF873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6519" y="1329447"/>
                <a:ext cx="1533368" cy="369332"/>
              </a:xfrm>
              <a:prstGeom prst="rect">
                <a:avLst/>
              </a:prstGeom>
              <a:blipFill>
                <a:blip r:embed="rId8"/>
                <a:stretch>
                  <a:fillRect t="-4918"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FA6B3B4F-2531-2B99-81B6-C6079B5310CD}"/>
                  </a:ext>
                </a:extLst>
              </p:cNvPr>
              <p:cNvSpPr txBox="1"/>
              <p:nvPr/>
            </p:nvSpPr>
            <p:spPr>
              <a:xfrm>
                <a:off x="1968589" y="4478429"/>
                <a:ext cx="305250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𝜂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d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acc>
                            <m:accPr>
                              <m:chr m:val="̂"/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𝜂</m:t>
                              </m:r>
                            </m:e>
                          </m:acc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d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𝜖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𝜖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FA6B3B4F-2531-2B99-81B6-C6079B5310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8589" y="4478429"/>
                <a:ext cx="3052502" cy="400110"/>
              </a:xfrm>
              <a:prstGeom prst="rect">
                <a:avLst/>
              </a:prstGeom>
              <a:blipFill>
                <a:blip r:embed="rId9"/>
                <a:stretch>
                  <a:fillRect t="-3077" b="-184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907739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14E42707-4084-1AC7-26B8-620B92698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691" y="5026444"/>
            <a:ext cx="5120614" cy="1177404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在分支推演对策略价值误差的分析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7137B883-774E-6B26-D8BB-0AD79BDE18AA}"/>
              </a:ext>
            </a:extLst>
          </p:cNvPr>
          <p:cNvSpPr txBox="1">
            <a:spLocks/>
          </p:cNvSpPr>
          <p:nvPr/>
        </p:nvSpPr>
        <p:spPr>
          <a:xfrm>
            <a:off x="502442" y="1317452"/>
            <a:ext cx="8137922" cy="4801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量化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泛化误差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偏移程度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1" name="内容占位符 2">
            <a:extLst>
              <a:ext uri="{FF2B5EF4-FFF2-40B4-BE49-F238E27FC236}">
                <a16:creationId xmlns:a16="http://schemas.microsoft.com/office/drawing/2014/main" id="{4D0F4C7E-8D44-1629-E99F-6D594C50C781}"/>
              </a:ext>
            </a:extLst>
          </p:cNvPr>
          <p:cNvSpPr txBox="1">
            <a:spLocks/>
          </p:cNvSpPr>
          <p:nvPr/>
        </p:nvSpPr>
        <p:spPr>
          <a:xfrm>
            <a:off x="502442" y="5181600"/>
            <a:ext cx="8137922" cy="5307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2" name="内容占位符 2">
            <a:extLst>
              <a:ext uri="{FF2B5EF4-FFF2-40B4-BE49-F238E27FC236}">
                <a16:creationId xmlns:a16="http://schemas.microsoft.com/office/drawing/2014/main" id="{7267DDA9-22AD-6CC6-2A95-13EA13339E1B}"/>
              </a:ext>
            </a:extLst>
          </p:cNvPr>
          <p:cNvSpPr txBox="1">
            <a:spLocks/>
          </p:cNvSpPr>
          <p:nvPr/>
        </p:nvSpPr>
        <p:spPr>
          <a:xfrm>
            <a:off x="502442" y="2819413"/>
            <a:ext cx="4176238" cy="411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价值误差界可写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0F70093C-B526-7BF4-DD4A-5074E8EBC8B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573661"/>
                <a:ext cx="4275298" cy="5307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问题：多大的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使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误差界最小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0F70093C-B526-7BF4-DD4A-5074E8EBC8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573661"/>
                <a:ext cx="4275298" cy="530752"/>
              </a:xfrm>
              <a:prstGeom prst="rect">
                <a:avLst/>
              </a:prstGeom>
              <a:blipFill>
                <a:blip r:embed="rId6"/>
                <a:stretch>
                  <a:fillRect l="-855" t="-57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0" name="对象 9">
            <a:extLst>
              <a:ext uri="{FF2B5EF4-FFF2-40B4-BE49-F238E27FC236}">
                <a16:creationId xmlns:a16="http://schemas.microsoft.com/office/drawing/2014/main" id="{2D6113C1-75AE-ED6A-A688-6BD3F706FF1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81076" y="1808824"/>
          <a:ext cx="4897120" cy="3918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Formula" r:id="rId7" imgW="2871000" imgH="228600" progId="Equation.Ribbit">
                  <p:embed/>
                </p:oleObj>
              </mc:Choice>
              <mc:Fallback>
                <p:oleObj name="Formula" r:id="rId7" imgW="2871000" imgH="228600" progId="Equation.Ribbit">
                  <p:embed/>
                  <p:pic>
                    <p:nvPicPr>
                      <p:cNvPr id="10" name="对象 9">
                        <a:extLst>
                          <a:ext uri="{FF2B5EF4-FFF2-40B4-BE49-F238E27FC236}">
                            <a16:creationId xmlns:a16="http://schemas.microsoft.com/office/drawing/2014/main" id="{2D6113C1-75AE-ED6A-A688-6BD3F706FF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81076" y="1808824"/>
                        <a:ext cx="4897120" cy="3918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对象 10">
            <a:extLst>
              <a:ext uri="{FF2B5EF4-FFF2-40B4-BE49-F238E27FC236}">
                <a16:creationId xmlns:a16="http://schemas.microsoft.com/office/drawing/2014/main" id="{76642F73-02C9-806D-1E14-DA1349A0419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291414" y="2344707"/>
          <a:ext cx="2233992" cy="3756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Formula" r:id="rId9" imgW="1309680" imgH="219240" progId="Equation.Ribbit">
                  <p:embed/>
                </p:oleObj>
              </mc:Choice>
              <mc:Fallback>
                <p:oleObj name="Formula" r:id="rId9" imgW="1309680" imgH="219240" progId="Equation.Ribbit">
                  <p:embed/>
                  <p:pic>
                    <p:nvPicPr>
                      <p:cNvPr id="11" name="对象 10">
                        <a:extLst>
                          <a:ext uri="{FF2B5EF4-FFF2-40B4-BE49-F238E27FC236}">
                            <a16:creationId xmlns:a16="http://schemas.microsoft.com/office/drawing/2014/main" id="{76642F73-02C9-806D-1E14-DA1349A04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291414" y="2344707"/>
                        <a:ext cx="2233992" cy="3756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图片 11">
            <a:extLst>
              <a:ext uri="{FF2B5EF4-FFF2-40B4-BE49-F238E27FC236}">
                <a16:creationId xmlns:a16="http://schemas.microsoft.com/office/drawing/2014/main" id="{A0A87692-52BB-4821-232A-BA34DA40D36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96943" y="4573661"/>
            <a:ext cx="1929095" cy="49849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4BA0E10F-70DE-4FEF-1DEA-44AB87F5AFF7}"/>
              </a:ext>
            </a:extLst>
          </p:cNvPr>
          <p:cNvSpPr txBox="1"/>
          <p:nvPr/>
        </p:nvSpPr>
        <p:spPr>
          <a:xfrm>
            <a:off x="768499" y="1811774"/>
            <a:ext cx="129730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泛化误差</a:t>
            </a:r>
            <a:endParaRPr lang="zh-CN" altLang="en-US" sz="1400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22DADC7E-BCAC-942A-BC87-4CB90A043B0C}"/>
              </a:ext>
            </a:extLst>
          </p:cNvPr>
          <p:cNvSpPr txBox="1"/>
          <p:nvPr/>
        </p:nvSpPr>
        <p:spPr>
          <a:xfrm>
            <a:off x="768499" y="2329467"/>
            <a:ext cx="129730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偏移程度</a:t>
            </a:r>
            <a:endParaRPr lang="zh-CN" altLang="en-US" sz="1400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0429C9D0-FD79-79EA-224E-3116D154C1A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12265" y="3326046"/>
            <a:ext cx="6146775" cy="692224"/>
          </a:xfrm>
          <a:prstGeom prst="rect">
            <a:avLst/>
          </a:prstGeom>
        </p:spPr>
      </p:pic>
      <p:sp>
        <p:nvSpPr>
          <p:cNvPr id="7" name="左大括号 6">
            <a:extLst>
              <a:ext uri="{FF2B5EF4-FFF2-40B4-BE49-F238E27FC236}">
                <a16:creationId xmlns:a16="http://schemas.microsoft.com/office/drawing/2014/main" id="{C99A59F3-1C22-3E3A-CFC5-6002644F547B}"/>
              </a:ext>
            </a:extLst>
          </p:cNvPr>
          <p:cNvSpPr/>
          <p:nvPr/>
        </p:nvSpPr>
        <p:spPr>
          <a:xfrm rot="16200000">
            <a:off x="5029934" y="3207213"/>
            <a:ext cx="121867" cy="1766430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2E225658-AED7-1EB3-7254-8D464C203D06}"/>
                  </a:ext>
                </a:extLst>
              </p:cNvPr>
              <p:cNvSpPr txBox="1"/>
              <p:nvPr/>
            </p:nvSpPr>
            <p:spPr>
              <a:xfrm>
                <a:off x="4385847" y="4142077"/>
                <a:ext cx="141004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400" dirty="0">
                    <a:solidFill>
                      <a:srgbClr val="00B0F0"/>
                    </a:solidFill>
                    <a:ea typeface="阿里巴巴普惠体 R" panose="00020600040101010101" pitchFamily="18" charset="-122"/>
                  </a:rPr>
                  <a:t>随</a:t>
                </a:r>
                <a14:m>
                  <m:oMath xmlns:m="http://schemas.openxmlformats.org/officeDocument/2006/math">
                    <m:r>
                      <a:rPr lang="en-US" altLang="zh-CN" sz="1400" i="1" dirty="0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sz="1400" dirty="0">
                    <a:solidFill>
                      <a:srgbClr val="00B0F0"/>
                    </a:solidFill>
                    <a:ea typeface="阿里巴巴普惠体 R" panose="00020600040101010101" pitchFamily="18" charset="-122"/>
                  </a:rPr>
                  <a:t>变大而变小</a:t>
                </a: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2E225658-AED7-1EB3-7254-8D464C203D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5847" y="4142077"/>
                <a:ext cx="1410040" cy="307777"/>
              </a:xfrm>
              <a:prstGeom prst="rect">
                <a:avLst/>
              </a:prstGeom>
              <a:blipFill>
                <a:blip r:embed="rId13"/>
                <a:stretch>
                  <a:fillRect t="-1961" b="-1960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左大括号 18">
            <a:extLst>
              <a:ext uri="{FF2B5EF4-FFF2-40B4-BE49-F238E27FC236}">
                <a16:creationId xmlns:a16="http://schemas.microsoft.com/office/drawing/2014/main" id="{9AACE856-B8AF-3088-17C7-F9A82D5830E7}"/>
              </a:ext>
            </a:extLst>
          </p:cNvPr>
          <p:cNvSpPr/>
          <p:nvPr/>
        </p:nvSpPr>
        <p:spPr>
          <a:xfrm rot="16200000">
            <a:off x="6801585" y="3553923"/>
            <a:ext cx="121867" cy="1073009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C697D070-E5A6-5E2C-4434-33BB874AD379}"/>
                  </a:ext>
                </a:extLst>
              </p:cNvPr>
              <p:cNvSpPr txBox="1"/>
              <p:nvPr/>
            </p:nvSpPr>
            <p:spPr>
              <a:xfrm>
                <a:off x="6157498" y="4142077"/>
                <a:ext cx="141004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400" dirty="0">
                    <a:solidFill>
                      <a:srgbClr val="00B0F0"/>
                    </a:solidFill>
                    <a:ea typeface="阿里巴巴普惠体 R" panose="00020600040101010101" pitchFamily="18" charset="-122"/>
                  </a:rPr>
                  <a:t>随</a:t>
                </a:r>
                <a14:m>
                  <m:oMath xmlns:m="http://schemas.openxmlformats.org/officeDocument/2006/math">
                    <m:r>
                      <a:rPr lang="en-US" altLang="zh-CN" sz="1400" i="1" dirty="0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sz="1400" dirty="0">
                    <a:solidFill>
                      <a:srgbClr val="00B0F0"/>
                    </a:solidFill>
                    <a:ea typeface="阿里巴巴普惠体 R" panose="00020600040101010101" pitchFamily="18" charset="-122"/>
                  </a:rPr>
                  <a:t>变大而变大</a:t>
                </a:r>
              </a:p>
            </p:txBody>
          </p:sp>
        </mc:Choice>
        <mc:Fallback xmlns="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C697D070-E5A6-5E2C-4434-33BB874AD3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7498" y="4142077"/>
                <a:ext cx="1410040" cy="307777"/>
              </a:xfrm>
              <a:prstGeom prst="rect">
                <a:avLst/>
              </a:prstGeom>
              <a:blipFill>
                <a:blip r:embed="rId14"/>
                <a:stretch>
                  <a:fillRect t="-1961" b="-1960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内容占位符 2">
                <a:extLst>
                  <a:ext uri="{FF2B5EF4-FFF2-40B4-BE49-F238E27FC236}">
                    <a16:creationId xmlns:a16="http://schemas.microsoft.com/office/drawing/2014/main" id="{E91CA7EE-063B-85ED-7FE9-7D4EB53C7B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74084" y="5256046"/>
                <a:ext cx="2528226" cy="94780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推导结论：当比率足够小时，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求导极值点为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&gt;0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3" name="内容占位符 2">
                <a:extLst>
                  <a:ext uri="{FF2B5EF4-FFF2-40B4-BE49-F238E27FC236}">
                    <a16:creationId xmlns:a16="http://schemas.microsoft.com/office/drawing/2014/main" id="{E91CA7EE-063B-85ED-7FE9-7D4EB53C7B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4084" y="5256046"/>
                <a:ext cx="2528226" cy="947801"/>
              </a:xfrm>
              <a:prstGeom prst="rect">
                <a:avLst/>
              </a:prstGeom>
              <a:blipFill>
                <a:blip r:embed="rId15"/>
                <a:stretch>
                  <a:fillRect l="-1446" t="-6410" r="-1928" b="-769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4" name="图片 23">
            <a:extLst>
              <a:ext uri="{FF2B5EF4-FFF2-40B4-BE49-F238E27FC236}">
                <a16:creationId xmlns:a16="http://schemas.microsoft.com/office/drawing/2014/main" id="{C80118A3-2BA6-3F30-E048-7A8E93FC3F2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76027"/>
          <a:stretch/>
        </p:blipFill>
        <p:spPr>
          <a:xfrm>
            <a:off x="8427720" y="5190640"/>
            <a:ext cx="462471" cy="498492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5" name="页脚占位符 4">
            <a:extLst>
              <a:ext uri="{FF2B5EF4-FFF2-40B4-BE49-F238E27FC236}">
                <a16:creationId xmlns:a16="http://schemas.microsoft.com/office/drawing/2014/main" id="{8340D663-B611-3F72-3904-74CDAB6BD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2" y="6357273"/>
            <a:ext cx="6226837" cy="206381"/>
          </a:xfrm>
        </p:spPr>
        <p:txBody>
          <a:bodyPr/>
          <a:lstStyle/>
          <a:p>
            <a:r>
              <a:rPr lang="en-US" altLang="zh-CN" dirty="0"/>
              <a:t>Janner, Michael, et al. When to Trust Your Model: Model-Based Policy Optimization. NIPS 2019.</a:t>
            </a:r>
          </a:p>
        </p:txBody>
      </p:sp>
    </p:spTree>
    <p:extLst>
      <p:ext uri="{BB962C8B-B14F-4D97-AF65-F5344CB8AC3E}">
        <p14:creationId xmlns:p14="http://schemas.microsoft.com/office/powerpoint/2010/main" val="13692057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图片 41">
            <a:extLst>
              <a:ext uri="{FF2B5EF4-FFF2-40B4-BE49-F238E27FC236}">
                <a16:creationId xmlns:a16="http://schemas.microsoft.com/office/drawing/2014/main" id="{DE4841E2-939A-533E-75A2-4FEEA8E7DF4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6027"/>
          <a:stretch/>
        </p:blipFill>
        <p:spPr>
          <a:xfrm>
            <a:off x="2818027" y="1085322"/>
            <a:ext cx="462471" cy="498492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适合的实验环境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7137B883-774E-6B26-D8BB-0AD79BDE18AA}"/>
              </a:ext>
            </a:extLst>
          </p:cNvPr>
          <p:cNvSpPr txBox="1">
            <a:spLocks/>
          </p:cNvSpPr>
          <p:nvPr/>
        </p:nvSpPr>
        <p:spPr>
          <a:xfrm>
            <a:off x="4774935" y="1192625"/>
            <a:ext cx="3865430" cy="8229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dirty="0">
                <a:ea typeface="阿里巴巴普惠体 R" panose="00020600040101010101" pitchFamily="18" charset="-122"/>
              </a:rPr>
              <a:t>基于</a:t>
            </a:r>
            <a:r>
              <a:rPr lang="en-US" altLang="zh-CN" sz="1600" dirty="0">
                <a:ea typeface="阿里巴巴普惠体 R" panose="00020600040101010101" pitchFamily="18" charset="-122"/>
              </a:rPr>
              <a:t>Gym</a:t>
            </a:r>
            <a:r>
              <a:rPr lang="zh-CN" altLang="en-US" sz="1600" dirty="0">
                <a:ea typeface="阿里巴巴普惠体 R" panose="00020600040101010101" pitchFamily="18" charset="-122"/>
              </a:rPr>
              <a:t>和</a:t>
            </a:r>
            <a:r>
              <a:rPr lang="en-US" altLang="zh-CN" sz="1600" dirty="0" err="1">
                <a:ea typeface="阿里巴巴普惠体 R" panose="00020600040101010101" pitchFamily="18" charset="-122"/>
              </a:rPr>
              <a:t>Mujoco</a:t>
            </a:r>
            <a:r>
              <a:rPr lang="zh-CN" altLang="en-US" sz="1600" dirty="0">
                <a:ea typeface="阿里巴巴普惠体 R" panose="00020600040101010101" pitchFamily="18" charset="-122"/>
              </a:rPr>
              <a:t>的机器人控制和运动的环境满足此特性</a:t>
            </a:r>
            <a:endParaRPr lang="en-US" altLang="zh-CN" sz="1600" dirty="0">
              <a:ea typeface="阿里巴巴普惠体 R" panose="00020600040101010101" pitchFamily="18" charset="-122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0E3F6519-D440-8923-0669-D325A28AD8F4}"/>
              </a:ext>
            </a:extLst>
          </p:cNvPr>
          <p:cNvGrpSpPr/>
          <p:nvPr/>
        </p:nvGrpSpPr>
        <p:grpSpPr>
          <a:xfrm>
            <a:off x="1277006" y="2211867"/>
            <a:ext cx="6705259" cy="3795814"/>
            <a:chOff x="173723" y="1605600"/>
            <a:chExt cx="8712612" cy="4932167"/>
          </a:xfrm>
        </p:grpSpPr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53D7C896-ABC9-3E90-394E-44D0CEF67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2000" y="1605600"/>
              <a:ext cx="1789068" cy="1789068"/>
            </a:xfrm>
            <a:prstGeom prst="rect">
              <a:avLst/>
            </a:prstGeom>
          </p:spPr>
        </p:pic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C7C1774B-9889-66A6-49D5-7ACCB65701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6000" y="1606813"/>
              <a:ext cx="1789068" cy="1789068"/>
            </a:xfrm>
            <a:prstGeom prst="rect">
              <a:avLst/>
            </a:prstGeom>
          </p:spPr>
        </p:pic>
        <p:pic>
          <p:nvPicPr>
            <p:cNvPr id="27" name="图片 26">
              <a:extLst>
                <a:ext uri="{FF2B5EF4-FFF2-40B4-BE49-F238E27FC236}">
                  <a16:creationId xmlns:a16="http://schemas.microsoft.com/office/drawing/2014/main" id="{32C6F5C6-6643-B809-6C43-8672734FC0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2000" y="4303917"/>
              <a:ext cx="1789068" cy="1789068"/>
            </a:xfrm>
            <a:prstGeom prst="rect">
              <a:avLst/>
            </a:prstGeom>
          </p:spPr>
        </p:pic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C01907E0-1670-25E6-9602-4F60DA82C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4000" y="4303917"/>
              <a:ext cx="1789068" cy="1789068"/>
            </a:xfrm>
            <a:prstGeom prst="rect">
              <a:avLst/>
            </a:prstGeom>
          </p:spPr>
        </p:pic>
        <p:pic>
          <p:nvPicPr>
            <p:cNvPr id="29" name="图片 28">
              <a:extLst>
                <a:ext uri="{FF2B5EF4-FFF2-40B4-BE49-F238E27FC236}">
                  <a16:creationId xmlns:a16="http://schemas.microsoft.com/office/drawing/2014/main" id="{1B5330BF-60BE-6F13-8C69-32A83EDC7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6000" y="4303917"/>
              <a:ext cx="1789068" cy="1789068"/>
            </a:xfrm>
            <a:prstGeom prst="rect">
              <a:avLst/>
            </a:prstGeom>
          </p:spPr>
        </p:pic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CB2A9883-7309-9ECE-3F0B-21878A4B3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4000" y="1606813"/>
              <a:ext cx="1789068" cy="1789068"/>
            </a:xfrm>
            <a:prstGeom prst="rect">
              <a:avLst/>
            </a:prstGeom>
          </p:spPr>
        </p:pic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E5A0F86F-BF8E-3F88-D76D-60ABD8A05C80}"/>
                </a:ext>
              </a:extLst>
            </p:cNvPr>
            <p:cNvSpPr txBox="1"/>
            <p:nvPr/>
          </p:nvSpPr>
          <p:spPr>
            <a:xfrm>
              <a:off x="2802337" y="3480567"/>
              <a:ext cx="1407762" cy="359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Swimmer</a:t>
              </a:r>
              <a:endParaRPr lang="zh-CN" altLang="en-US" sz="1200" dirty="0"/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F75A4BC6-A6B5-BF0E-5FDE-F83793990A33}"/>
                </a:ext>
              </a:extLst>
            </p:cNvPr>
            <p:cNvSpPr txBox="1"/>
            <p:nvPr/>
          </p:nvSpPr>
          <p:spPr>
            <a:xfrm>
              <a:off x="4913296" y="3480567"/>
              <a:ext cx="1687869" cy="359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 err="1"/>
                <a:t>HalfCheetah</a:t>
              </a:r>
              <a:endParaRPr lang="zh-CN" altLang="en-US" sz="1200" dirty="0"/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CC57E494-C001-60EB-EA91-209E34473659}"/>
                </a:ext>
              </a:extLst>
            </p:cNvPr>
            <p:cNvSpPr txBox="1"/>
            <p:nvPr/>
          </p:nvSpPr>
          <p:spPr>
            <a:xfrm>
              <a:off x="7198466" y="3480567"/>
              <a:ext cx="1687869" cy="359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Ant</a:t>
              </a:r>
              <a:endParaRPr lang="zh-CN" altLang="en-US" sz="1200" dirty="0"/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CEE1E71D-E7AD-0E4C-28DC-49FE778104B0}"/>
                </a:ext>
              </a:extLst>
            </p:cNvPr>
            <p:cNvSpPr txBox="1"/>
            <p:nvPr/>
          </p:nvSpPr>
          <p:spPr>
            <a:xfrm>
              <a:off x="2802337" y="6177671"/>
              <a:ext cx="1407762" cy="359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Hopper</a:t>
              </a:r>
              <a:endParaRPr lang="zh-CN" altLang="en-US" sz="1200" dirty="0"/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5FF31A76-1963-DAFC-DA61-6812997F26EE}"/>
                </a:ext>
              </a:extLst>
            </p:cNvPr>
            <p:cNvSpPr txBox="1"/>
            <p:nvPr/>
          </p:nvSpPr>
          <p:spPr>
            <a:xfrm>
              <a:off x="5053350" y="6177843"/>
              <a:ext cx="1407762" cy="359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Walker2d</a:t>
              </a:r>
              <a:endParaRPr lang="zh-CN" altLang="en-US" sz="1200" dirty="0"/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CB85F162-835B-533E-0982-D87C6794284A}"/>
                </a:ext>
              </a:extLst>
            </p:cNvPr>
            <p:cNvSpPr txBox="1"/>
            <p:nvPr/>
          </p:nvSpPr>
          <p:spPr>
            <a:xfrm>
              <a:off x="7338520" y="6177672"/>
              <a:ext cx="1407762" cy="359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Humanoid</a:t>
              </a:r>
              <a:endParaRPr lang="zh-CN" altLang="en-US" sz="1200" dirty="0"/>
            </a:p>
          </p:txBody>
        </p:sp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AAD361D4-78B3-4A86-DDCD-0A808F14FC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13" t="6086" r="21078"/>
            <a:stretch/>
          </p:blipFill>
          <p:spPr>
            <a:xfrm>
              <a:off x="288000" y="1606813"/>
              <a:ext cx="1789068" cy="1789068"/>
            </a:xfrm>
            <a:prstGeom prst="rect">
              <a:avLst/>
            </a:prstGeom>
          </p:spPr>
        </p:pic>
        <p:pic>
          <p:nvPicPr>
            <p:cNvPr id="38" name="图片 37">
              <a:extLst>
                <a:ext uri="{FF2B5EF4-FFF2-40B4-BE49-F238E27FC236}">
                  <a16:creationId xmlns:a16="http://schemas.microsoft.com/office/drawing/2014/main" id="{F6767C81-A7EB-D2A5-D93F-338AE8A8C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000" y="4303917"/>
              <a:ext cx="1789068" cy="1789068"/>
            </a:xfrm>
            <a:prstGeom prst="rect">
              <a:avLst/>
            </a:prstGeom>
          </p:spPr>
        </p:pic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1B2FD7A1-2BB7-E434-257F-5044C4AF708F}"/>
                </a:ext>
              </a:extLst>
            </p:cNvPr>
            <p:cNvSpPr txBox="1"/>
            <p:nvPr/>
          </p:nvSpPr>
          <p:spPr>
            <a:xfrm>
              <a:off x="448318" y="3480565"/>
              <a:ext cx="1407762" cy="359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Cartpole</a:t>
              </a:r>
              <a:endParaRPr lang="zh-CN" altLang="en-US" sz="1200" dirty="0"/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2EEC6A11-ED97-CC8C-8BFB-453E2976CDD1}"/>
                </a:ext>
              </a:extLst>
            </p:cNvPr>
            <p:cNvSpPr txBox="1"/>
            <p:nvPr/>
          </p:nvSpPr>
          <p:spPr>
            <a:xfrm>
              <a:off x="173723" y="6177671"/>
              <a:ext cx="1956952" cy="359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 err="1"/>
                <a:t>InvertedPendulum</a:t>
              </a:r>
              <a:endParaRPr lang="zh-CN" altLang="en-US" sz="1200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内容占位符 2">
                <a:extLst>
                  <a:ext uri="{FF2B5EF4-FFF2-40B4-BE49-F238E27FC236}">
                    <a16:creationId xmlns:a16="http://schemas.microsoft.com/office/drawing/2014/main" id="{F3266266-5F97-9301-13F4-2DEFD14A66C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4464" y="1192625"/>
                <a:ext cx="3610836" cy="94780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推导结论：当比率          足够小时，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求导极值点为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&gt;0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41" name="内容占位符 2">
                <a:extLst>
                  <a:ext uri="{FF2B5EF4-FFF2-40B4-BE49-F238E27FC236}">
                    <a16:creationId xmlns:a16="http://schemas.microsoft.com/office/drawing/2014/main" id="{F3266266-5F97-9301-13F4-2DEFD14A66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464" y="1192625"/>
                <a:ext cx="3610836" cy="947801"/>
              </a:xfrm>
              <a:prstGeom prst="rect">
                <a:avLst/>
              </a:prstGeom>
              <a:blipFill>
                <a:blip r:embed="rId13"/>
                <a:stretch>
                  <a:fillRect l="-338" t="-1935" r="-371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页脚占位符 4">
            <a:extLst>
              <a:ext uri="{FF2B5EF4-FFF2-40B4-BE49-F238E27FC236}">
                <a16:creationId xmlns:a16="http://schemas.microsoft.com/office/drawing/2014/main" id="{0868EC9B-1B89-96D3-F8DF-72E47B9E3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2" y="6357273"/>
            <a:ext cx="6226837" cy="206381"/>
          </a:xfrm>
        </p:spPr>
        <p:txBody>
          <a:bodyPr/>
          <a:lstStyle/>
          <a:p>
            <a:r>
              <a:rPr lang="en-US" altLang="zh-CN" dirty="0"/>
              <a:t>Janner, Michael, et al. When to Trust Your Model: Model-Based Policy Optimization. NIPS 2019.</a:t>
            </a:r>
          </a:p>
        </p:txBody>
      </p:sp>
    </p:spTree>
    <p:extLst>
      <p:ext uri="{BB962C8B-B14F-4D97-AF65-F5344CB8AC3E}">
        <p14:creationId xmlns:p14="http://schemas.microsoft.com/office/powerpoint/2010/main" val="42806535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适合的实验环境</a:t>
            </a:r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C01907E0-1670-25E6-9602-4F60DA82C7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2093" y="1174859"/>
            <a:ext cx="1376874" cy="1376873"/>
          </a:xfrm>
          <a:prstGeom prst="rect">
            <a:avLst/>
          </a:prstGeom>
        </p:spPr>
      </p:pic>
      <p:pic>
        <p:nvPicPr>
          <p:cNvPr id="29" name="图片 28">
            <a:extLst>
              <a:ext uri="{FF2B5EF4-FFF2-40B4-BE49-F238E27FC236}">
                <a16:creationId xmlns:a16="http://schemas.microsoft.com/office/drawing/2014/main" id="{1B5330BF-60BE-6F13-8C69-32A83EDC7A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032" y="1174860"/>
            <a:ext cx="1376874" cy="1376873"/>
          </a:xfrm>
          <a:prstGeom prst="rect">
            <a:avLst/>
          </a:prstGeom>
        </p:spPr>
      </p:pic>
      <p:pic>
        <p:nvPicPr>
          <p:cNvPr id="43" name="内容占位符 4">
            <a:extLst>
              <a:ext uri="{FF2B5EF4-FFF2-40B4-BE49-F238E27FC236}">
                <a16:creationId xmlns:a16="http://schemas.microsoft.com/office/drawing/2014/main" id="{60ED3813-E7F9-5CA6-8848-73EAF19E50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899" y="2685955"/>
            <a:ext cx="6094787" cy="3534899"/>
          </a:xfrm>
          <a:prstGeom prst="rect">
            <a:avLst/>
          </a:prstGeom>
        </p:spPr>
      </p:pic>
      <p:pic>
        <p:nvPicPr>
          <p:cNvPr id="44" name="图片 43">
            <a:extLst>
              <a:ext uri="{FF2B5EF4-FFF2-40B4-BE49-F238E27FC236}">
                <a16:creationId xmlns:a16="http://schemas.microsoft.com/office/drawing/2014/main" id="{64504B2A-AF56-80AD-755F-E04BC642076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6027"/>
          <a:stretch/>
        </p:blipFill>
        <p:spPr>
          <a:xfrm>
            <a:off x="1708899" y="1365727"/>
            <a:ext cx="462471" cy="498492"/>
          </a:xfrm>
          <a:prstGeom prst="rect">
            <a:avLst/>
          </a:prstGeom>
          <a:ln>
            <a:solidFill>
              <a:schemeClr val="bg1"/>
            </a:solidFill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5" name="内容占位符 2">
                <a:extLst>
                  <a:ext uri="{FF2B5EF4-FFF2-40B4-BE49-F238E27FC236}">
                    <a16:creationId xmlns:a16="http://schemas.microsoft.com/office/drawing/2014/main" id="{405B1B25-4245-6567-4EC8-6D601E5288B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8160" y="1498104"/>
                <a:ext cx="1759176" cy="137687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比率          足够小时，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求导极值点为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&gt;0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45" name="内容占位符 2">
                <a:extLst>
                  <a:ext uri="{FF2B5EF4-FFF2-40B4-BE49-F238E27FC236}">
                    <a16:creationId xmlns:a16="http://schemas.microsoft.com/office/drawing/2014/main" id="{405B1B25-4245-6567-4EC8-6D601E5288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160" y="1498104"/>
                <a:ext cx="1759176" cy="1376873"/>
              </a:xfrm>
              <a:prstGeom prst="rect">
                <a:avLst/>
              </a:prstGeom>
              <a:blipFill>
                <a:blip r:embed="rId8"/>
                <a:stretch>
                  <a:fillRect l="-694" t="-132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页脚占位符 4">
            <a:extLst>
              <a:ext uri="{FF2B5EF4-FFF2-40B4-BE49-F238E27FC236}">
                <a16:creationId xmlns:a16="http://schemas.microsoft.com/office/drawing/2014/main" id="{2BD6EB76-7C46-B839-F085-A1564D58A1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2" y="6357273"/>
            <a:ext cx="6226837" cy="206381"/>
          </a:xfrm>
        </p:spPr>
        <p:txBody>
          <a:bodyPr/>
          <a:lstStyle/>
          <a:p>
            <a:r>
              <a:rPr lang="en-US" altLang="zh-CN" dirty="0"/>
              <a:t>Janner, Michael, et al. When to Trust Your Model: Model-Based Policy Optimization. NIPS 2019.</a:t>
            </a:r>
          </a:p>
        </p:txBody>
      </p:sp>
    </p:spTree>
    <p:extLst>
      <p:ext uri="{BB962C8B-B14F-4D97-AF65-F5344CB8AC3E}">
        <p14:creationId xmlns:p14="http://schemas.microsoft.com/office/powerpoint/2010/main" val="39242721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基于模型的策略优化算法</a:t>
            </a:r>
            <a:r>
              <a:rPr lang="en-US" altLang="zh-CN" dirty="0"/>
              <a:t>MBPO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384C3C45-4F22-0738-0845-FF3DD3E4A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221" y="1277468"/>
            <a:ext cx="8258629" cy="2796410"/>
          </a:xfrm>
          <a:prstGeom prst="rect">
            <a:avLst/>
          </a:prstGeom>
        </p:spPr>
      </p:pic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5AAEDA15-553A-0A95-3611-723C5A2DDD00}"/>
              </a:ext>
            </a:extLst>
          </p:cNvPr>
          <p:cNvSpPr txBox="1">
            <a:spLocks/>
          </p:cNvSpPr>
          <p:nvPr/>
        </p:nvSpPr>
        <p:spPr>
          <a:xfrm>
            <a:off x="502442" y="4300396"/>
            <a:ext cx="8137922" cy="1765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BP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要点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支推演的起点是从真实经验轨迹中采样任何的状态，而不是一定从初始状态开始推演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支推演的步数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取决于环境模型和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得到推演数据后，使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oft A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训练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A46D374F-C2E2-5BF8-94FC-32CD38B25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2" y="6357273"/>
            <a:ext cx="6226837" cy="206381"/>
          </a:xfrm>
        </p:spPr>
        <p:txBody>
          <a:bodyPr/>
          <a:lstStyle/>
          <a:p>
            <a:r>
              <a:rPr lang="en-US" altLang="zh-CN" dirty="0"/>
              <a:t>Janner, Michael, et al. When to Trust Your Model: Model-Based Policy Optimization. NIPS 2019.</a:t>
            </a:r>
          </a:p>
        </p:txBody>
      </p:sp>
    </p:spTree>
    <p:extLst>
      <p:ext uri="{BB962C8B-B14F-4D97-AF65-F5344CB8AC3E}">
        <p14:creationId xmlns:p14="http://schemas.microsoft.com/office/powerpoint/2010/main" val="17893398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基于模型的策略优化算法</a:t>
            </a:r>
            <a:r>
              <a:rPr lang="en-US" altLang="zh-CN" dirty="0"/>
              <a:t>MBPO</a:t>
            </a:r>
            <a:r>
              <a:rPr lang="zh-CN" altLang="en-US" dirty="0"/>
              <a:t>的实验结果</a:t>
            </a:r>
          </a:p>
        </p:txBody>
      </p:sp>
      <p:pic>
        <p:nvPicPr>
          <p:cNvPr id="8" name="内容占位符 3">
            <a:extLst>
              <a:ext uri="{FF2B5EF4-FFF2-40B4-BE49-F238E27FC236}">
                <a16:creationId xmlns:a16="http://schemas.microsoft.com/office/drawing/2014/main" id="{085C999E-3E04-62C1-4490-F3CD67C8B5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827" y="1251755"/>
            <a:ext cx="7870345" cy="4908113"/>
          </a:xfrm>
          <a:prstGeom prst="rect">
            <a:avLst/>
          </a:prstGeom>
        </p:spPr>
      </p:pic>
      <p:sp>
        <p:nvSpPr>
          <p:cNvPr id="9" name="页脚占位符 4">
            <a:extLst>
              <a:ext uri="{FF2B5EF4-FFF2-40B4-BE49-F238E27FC236}">
                <a16:creationId xmlns:a16="http://schemas.microsoft.com/office/drawing/2014/main" id="{B6750B26-28A5-FFD7-E2C2-0757FC7EA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2" y="6357273"/>
            <a:ext cx="6226837" cy="206381"/>
          </a:xfrm>
        </p:spPr>
        <p:txBody>
          <a:bodyPr/>
          <a:lstStyle/>
          <a:p>
            <a:r>
              <a:rPr lang="en-US" altLang="zh-CN" dirty="0"/>
              <a:t>Janner, Michael, et al. When to Trust Your Model: Model-Based Policy Optimization. NIPS 2019.</a:t>
            </a:r>
          </a:p>
        </p:txBody>
      </p:sp>
    </p:spTree>
    <p:extLst>
      <p:ext uri="{BB962C8B-B14F-4D97-AF65-F5344CB8AC3E}">
        <p14:creationId xmlns:p14="http://schemas.microsoft.com/office/powerpoint/2010/main" val="34783066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zh-CN" altLang="en-US" dirty="0"/>
              <a:t>总结基于模型的强化学习</a:t>
            </a:r>
            <a:endParaRPr lang="en-US" dirty="0"/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119CDEC2-EBA6-4146-9447-81CD910F610E}"/>
              </a:ext>
            </a:extLst>
          </p:cNvPr>
          <p:cNvSpPr txBox="1">
            <a:spLocks/>
          </p:cNvSpPr>
          <p:nvPr/>
        </p:nvSpPr>
        <p:spPr>
          <a:xfrm>
            <a:off x="502442" y="1474485"/>
            <a:ext cx="8137922" cy="12579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智能体和动态环境做交互的过程，可以使用一个环境模型（即一个模拟器）来替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0CB4106-9115-EF86-60AD-4EF394BB6C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4733" y="2329713"/>
            <a:ext cx="5178960" cy="2606249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F3EB92A7-E97C-B08A-E936-8ADB9A01D060}"/>
              </a:ext>
            </a:extLst>
          </p:cNvPr>
          <p:cNvSpPr/>
          <p:nvPr/>
        </p:nvSpPr>
        <p:spPr>
          <a:xfrm>
            <a:off x="1941342" y="3182816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智能体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27BD232-3FBF-53F3-A7F7-580650416DCA}"/>
              </a:ext>
            </a:extLst>
          </p:cNvPr>
          <p:cNvSpPr/>
          <p:nvPr/>
        </p:nvSpPr>
        <p:spPr>
          <a:xfrm>
            <a:off x="1941342" y="4519247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环境模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E3EB66D-BE6E-BF82-67BA-C21A60577611}"/>
                  </a:ext>
                </a:extLst>
              </p:cNvPr>
              <p:cNvSpPr txBox="1"/>
              <p:nvPr/>
            </p:nvSpPr>
            <p:spPr>
              <a:xfrm>
                <a:off x="3727938" y="2412610"/>
                <a:ext cx="90210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E3EB66D-BE6E-BF82-67BA-C21A605776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7938" y="2412610"/>
                <a:ext cx="902106" cy="369332"/>
              </a:xfrm>
              <a:prstGeom prst="rect">
                <a:avLst/>
              </a:prstGeom>
              <a:blipFill>
                <a:blip r:embed="rId4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D0C72193-4674-CE8C-3BE0-61B5FED9E71F}"/>
                  </a:ext>
                </a:extLst>
              </p:cNvPr>
              <p:cNvSpPr txBox="1"/>
              <p:nvPr/>
            </p:nvSpPr>
            <p:spPr>
              <a:xfrm>
                <a:off x="3727938" y="4334581"/>
                <a:ext cx="136640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acc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p>
                          <m: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D0C72193-4674-CE8C-3BE0-61B5FED9E7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7938" y="4334581"/>
                <a:ext cx="1366400" cy="369332"/>
              </a:xfrm>
              <a:prstGeom prst="rect">
                <a:avLst/>
              </a:prstGeom>
              <a:blipFill>
                <a:blip r:embed="rId5"/>
                <a:stretch>
                  <a:fillRect t="-4918"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94D06AAB-DC8F-D576-2643-66C3556DF02B}"/>
                  </a:ext>
                </a:extLst>
              </p:cNvPr>
              <p:cNvSpPr txBox="1"/>
              <p:nvPr/>
            </p:nvSpPr>
            <p:spPr>
              <a:xfrm>
                <a:off x="7273964" y="3329474"/>
                <a:ext cx="142769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dirty="0" smtClean="0">
                          <a:latin typeface="Cambria Math" panose="02040503050406030204" pitchFamily="18" charset="0"/>
                        </a:rPr>
                        <m:t>{</m:t>
                      </m:r>
                      <m:r>
                        <a:rPr lang="en-US" altLang="zh-CN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altLang="zh-CN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p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}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94D06AAB-DC8F-D576-2643-66C3556DF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3964" y="3329474"/>
                <a:ext cx="1427699" cy="369332"/>
              </a:xfrm>
              <a:prstGeom prst="rect">
                <a:avLst/>
              </a:prstGeom>
              <a:blipFill>
                <a:blip r:embed="rId6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矩形 18">
            <a:extLst>
              <a:ext uri="{FF2B5EF4-FFF2-40B4-BE49-F238E27FC236}">
                <a16:creationId xmlns:a16="http://schemas.microsoft.com/office/drawing/2014/main" id="{94E70A54-7ACB-2935-1D98-A77AEDB37924}"/>
              </a:ext>
            </a:extLst>
          </p:cNvPr>
          <p:cNvSpPr/>
          <p:nvPr/>
        </p:nvSpPr>
        <p:spPr>
          <a:xfrm>
            <a:off x="7412417" y="3009489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rgbClr val="00B0F0"/>
                </a:solidFill>
              </a:rPr>
              <a:t>模拟数据</a:t>
            </a:r>
          </a:p>
        </p:txBody>
      </p:sp>
      <p:sp>
        <p:nvSpPr>
          <p:cNvPr id="16" name="内容占位符 2">
            <a:extLst>
              <a:ext uri="{FF2B5EF4-FFF2-40B4-BE49-F238E27FC236}">
                <a16:creationId xmlns:a16="http://schemas.microsoft.com/office/drawing/2014/main" id="{AB617825-91AE-6BF0-7429-0685A5B21275}"/>
              </a:ext>
            </a:extLst>
          </p:cNvPr>
          <p:cNvSpPr txBox="1">
            <a:spLocks/>
          </p:cNvSpPr>
          <p:nvPr/>
        </p:nvSpPr>
        <p:spPr>
          <a:xfrm>
            <a:off x="502442" y="5036465"/>
            <a:ext cx="8137922" cy="12579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模型的强化学习是提升强化学习样本效率的主流方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预测控制方法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ETS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模型的策略优化方法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BP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55660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型预测控制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76781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>
            <a:extLst>
              <a:ext uri="{FF2B5EF4-FFF2-40B4-BE49-F238E27FC236}">
                <a16:creationId xmlns:a16="http://schemas.microsoft.com/office/drawing/2014/main" id="{4DB12324-3446-B151-F2D5-A1186F49167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82" t="-2939" r="127" b="9463"/>
          <a:stretch/>
        </p:blipFill>
        <p:spPr>
          <a:xfrm>
            <a:off x="2114389" y="2412609"/>
            <a:ext cx="4721140" cy="2131257"/>
          </a:xfrm>
          <a:prstGeom prst="rect">
            <a:avLst/>
          </a:prstGeom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zh-CN" altLang="en-US" dirty="0"/>
              <a:t>基于模型的强化学习</a:t>
            </a:r>
            <a:endParaRPr lang="en-US" dirty="0"/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119CDEC2-EBA6-4146-9447-81CD910F610E}"/>
              </a:ext>
            </a:extLst>
          </p:cNvPr>
          <p:cNvSpPr txBox="1">
            <a:spLocks/>
          </p:cNvSpPr>
          <p:nvPr/>
        </p:nvSpPr>
        <p:spPr>
          <a:xfrm>
            <a:off x="502442" y="1474485"/>
            <a:ext cx="8137922" cy="12579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智能体和动态环境做交互的过程，可以使用一个环境模型（即一个模拟器）来替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3EB92A7-E97C-B08A-E936-8ADB9A01D060}"/>
              </a:ext>
            </a:extLst>
          </p:cNvPr>
          <p:cNvSpPr/>
          <p:nvPr/>
        </p:nvSpPr>
        <p:spPr>
          <a:xfrm>
            <a:off x="1941342" y="3182816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智能体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27BD232-3FBF-53F3-A7F7-580650416DCA}"/>
              </a:ext>
            </a:extLst>
          </p:cNvPr>
          <p:cNvSpPr/>
          <p:nvPr/>
        </p:nvSpPr>
        <p:spPr>
          <a:xfrm>
            <a:off x="1941342" y="4519247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真实环境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E3EB66D-BE6E-BF82-67BA-C21A60577611}"/>
                  </a:ext>
                </a:extLst>
              </p:cNvPr>
              <p:cNvSpPr txBox="1"/>
              <p:nvPr/>
            </p:nvSpPr>
            <p:spPr>
              <a:xfrm>
                <a:off x="3727938" y="2412610"/>
                <a:ext cx="90210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E3EB66D-BE6E-BF82-67BA-C21A605776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7938" y="2412610"/>
                <a:ext cx="902106" cy="369332"/>
              </a:xfrm>
              <a:prstGeom prst="rect">
                <a:avLst/>
              </a:prstGeom>
              <a:blipFill>
                <a:blip r:embed="rId6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D0C72193-4674-CE8C-3BE0-61B5FED9E71F}"/>
                  </a:ext>
                </a:extLst>
              </p:cNvPr>
              <p:cNvSpPr txBox="1"/>
              <p:nvPr/>
            </p:nvSpPr>
            <p:spPr>
              <a:xfrm>
                <a:off x="3727938" y="4334581"/>
                <a:ext cx="136357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p>
                          <m: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D0C72193-4674-CE8C-3BE0-61B5FED9E7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7938" y="4334581"/>
                <a:ext cx="1363578" cy="369332"/>
              </a:xfrm>
              <a:prstGeom prst="rect">
                <a:avLst/>
              </a:prstGeom>
              <a:blipFill>
                <a:blip r:embed="rId7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94D06AAB-DC8F-D576-2643-66C3556DF02B}"/>
                  </a:ext>
                </a:extLst>
              </p:cNvPr>
              <p:cNvSpPr txBox="1"/>
              <p:nvPr/>
            </p:nvSpPr>
            <p:spPr>
              <a:xfrm>
                <a:off x="7273964" y="3329474"/>
                <a:ext cx="142769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dirty="0" smtClean="0">
                          <a:latin typeface="Cambria Math" panose="02040503050406030204" pitchFamily="18" charset="0"/>
                        </a:rPr>
                        <m:t>{</m:t>
                      </m:r>
                      <m:r>
                        <a:rPr lang="en-US" altLang="zh-CN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altLang="zh-CN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p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}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94D06AAB-DC8F-D576-2643-66C3556DF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3964" y="3329474"/>
                <a:ext cx="1427699" cy="369332"/>
              </a:xfrm>
              <a:prstGeom prst="rect">
                <a:avLst/>
              </a:prstGeom>
              <a:blipFill>
                <a:blip r:embed="rId8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矩形 18">
            <a:extLst>
              <a:ext uri="{FF2B5EF4-FFF2-40B4-BE49-F238E27FC236}">
                <a16:creationId xmlns:a16="http://schemas.microsoft.com/office/drawing/2014/main" id="{94E70A54-7ACB-2935-1D98-A77AEDB37924}"/>
              </a:ext>
            </a:extLst>
          </p:cNvPr>
          <p:cNvSpPr/>
          <p:nvPr/>
        </p:nvSpPr>
        <p:spPr>
          <a:xfrm>
            <a:off x="7412417" y="3009489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经验数据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79657F3E-24F3-BAFE-6EFD-82363FAD91F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059674"/>
                <a:ext cx="3556087" cy="138717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真实环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动态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79657F3E-24F3-BAFE-6EFD-82363FAD91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059674"/>
                <a:ext cx="3556087" cy="1387171"/>
              </a:xfrm>
              <a:prstGeom prst="rect">
                <a:avLst/>
              </a:prstGeom>
              <a:blipFill>
                <a:blip r:embed="rId9"/>
                <a:stretch>
                  <a:fillRect l="-1027" t="-263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4030100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zh-CN" altLang="en-US" dirty="0"/>
              <a:t>基于模型的强化学习</a:t>
            </a:r>
            <a:endParaRPr lang="en-US" dirty="0"/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119CDEC2-EBA6-4146-9447-81CD910F610E}"/>
              </a:ext>
            </a:extLst>
          </p:cNvPr>
          <p:cNvSpPr txBox="1">
            <a:spLocks/>
          </p:cNvSpPr>
          <p:nvPr/>
        </p:nvSpPr>
        <p:spPr>
          <a:xfrm>
            <a:off x="502442" y="1474485"/>
            <a:ext cx="8137922" cy="12579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智能体和动态环境做交互的过程，可以使用</a:t>
            </a:r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个环境模型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即一个模拟器）来替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0CB4106-9115-EF86-60AD-4EF394BB6C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4733" y="2329713"/>
            <a:ext cx="5178960" cy="2606249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F3EB92A7-E97C-B08A-E936-8ADB9A01D060}"/>
              </a:ext>
            </a:extLst>
          </p:cNvPr>
          <p:cNvSpPr/>
          <p:nvPr/>
        </p:nvSpPr>
        <p:spPr>
          <a:xfrm>
            <a:off x="1941342" y="3182816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智能体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27BD232-3FBF-53F3-A7F7-580650416DCA}"/>
              </a:ext>
            </a:extLst>
          </p:cNvPr>
          <p:cNvSpPr/>
          <p:nvPr/>
        </p:nvSpPr>
        <p:spPr>
          <a:xfrm>
            <a:off x="1941342" y="4519247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环境模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E3EB66D-BE6E-BF82-67BA-C21A60577611}"/>
                  </a:ext>
                </a:extLst>
              </p:cNvPr>
              <p:cNvSpPr txBox="1"/>
              <p:nvPr/>
            </p:nvSpPr>
            <p:spPr>
              <a:xfrm>
                <a:off x="3727938" y="2412610"/>
                <a:ext cx="90210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E3EB66D-BE6E-BF82-67BA-C21A605776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7938" y="2412610"/>
                <a:ext cx="902106" cy="369332"/>
              </a:xfrm>
              <a:prstGeom prst="rect">
                <a:avLst/>
              </a:prstGeom>
              <a:blipFill>
                <a:blip r:embed="rId6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D0C72193-4674-CE8C-3BE0-61B5FED9E71F}"/>
                  </a:ext>
                </a:extLst>
              </p:cNvPr>
              <p:cNvSpPr txBox="1"/>
              <p:nvPr/>
            </p:nvSpPr>
            <p:spPr>
              <a:xfrm>
                <a:off x="3727938" y="4334581"/>
                <a:ext cx="136640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acc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p>
                          <m:r>
                            <a:rPr lang="en-US" altLang="zh-CN" sz="1800" b="0" i="1" dirty="0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D0C72193-4674-CE8C-3BE0-61B5FED9E7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7938" y="4334581"/>
                <a:ext cx="1366400" cy="369332"/>
              </a:xfrm>
              <a:prstGeom prst="rect">
                <a:avLst/>
              </a:prstGeom>
              <a:blipFill>
                <a:blip r:embed="rId7"/>
                <a:stretch>
                  <a:fillRect t="-4918"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94D06AAB-DC8F-D576-2643-66C3556DF02B}"/>
                  </a:ext>
                </a:extLst>
              </p:cNvPr>
              <p:cNvSpPr txBox="1"/>
              <p:nvPr/>
            </p:nvSpPr>
            <p:spPr>
              <a:xfrm>
                <a:off x="7273964" y="3329474"/>
                <a:ext cx="142769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dirty="0" smtClean="0">
                          <a:latin typeface="Cambria Math" panose="02040503050406030204" pitchFamily="18" charset="0"/>
                        </a:rPr>
                        <m:t>{</m:t>
                      </m:r>
                      <m:r>
                        <a:rPr lang="en-US" altLang="zh-CN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altLang="zh-CN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p>
                          <m:r>
                            <a:rPr lang="en-US" altLang="zh-CN" i="1" dirty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zh-CN" sz="1800" b="0" i="1" dirty="0" smtClean="0">
                          <a:latin typeface="Cambria Math" panose="02040503050406030204" pitchFamily="18" charset="0"/>
                        </a:rPr>
                        <m:t>)}</m:t>
                      </m:r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94D06AAB-DC8F-D576-2643-66C3556DF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3964" y="3329474"/>
                <a:ext cx="1427699" cy="369332"/>
              </a:xfrm>
              <a:prstGeom prst="rect">
                <a:avLst/>
              </a:prstGeom>
              <a:blipFill>
                <a:blip r:embed="rId8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矩形 18">
            <a:extLst>
              <a:ext uri="{FF2B5EF4-FFF2-40B4-BE49-F238E27FC236}">
                <a16:creationId xmlns:a16="http://schemas.microsoft.com/office/drawing/2014/main" id="{94E70A54-7ACB-2935-1D98-A77AEDB37924}"/>
              </a:ext>
            </a:extLst>
          </p:cNvPr>
          <p:cNvSpPr/>
          <p:nvPr/>
        </p:nvSpPr>
        <p:spPr>
          <a:xfrm>
            <a:off x="7412417" y="3009489"/>
            <a:ext cx="118872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rgbClr val="00B0F0"/>
                </a:solidFill>
              </a:rPr>
              <a:t>模拟数据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79657F3E-24F3-BAFE-6EFD-82363FAD91F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059674"/>
                <a:ext cx="3556087" cy="138717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真实环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动态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79657F3E-24F3-BAFE-6EFD-82363FAD91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059674"/>
                <a:ext cx="3556087" cy="1387171"/>
              </a:xfrm>
              <a:prstGeom prst="rect">
                <a:avLst/>
              </a:prstGeom>
              <a:blipFill>
                <a:blip r:embed="rId9"/>
                <a:stretch>
                  <a:fillRect l="-1027" t="-263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8693B90F-73E3-2FFA-6F35-ADA6E867C5D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37723" y="5059674"/>
                <a:ext cx="3556087" cy="138717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环境模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动态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</m:acc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acc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8693B90F-73E3-2FFA-6F35-ADA6E867C5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37723" y="5059674"/>
                <a:ext cx="3556087" cy="1387171"/>
              </a:xfrm>
              <a:prstGeom prst="rect">
                <a:avLst/>
              </a:prstGeom>
              <a:blipFill>
                <a:blip r:embed="rId10"/>
                <a:stretch>
                  <a:fillRect l="-1027" t="-263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574180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复习：</a:t>
            </a:r>
            <a:r>
              <a:rPr lang="en-US" altLang="zh-CN" dirty="0"/>
              <a:t>Dyna (</a:t>
            </a:r>
            <a:r>
              <a:rPr lang="zh-CN" altLang="en-US" dirty="0"/>
              <a:t>集成规划、决策和学习</a:t>
            </a:r>
            <a:r>
              <a:rPr lang="en-US" altLang="zh-CN" dirty="0"/>
              <a:t>)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218913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经验的不同用途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6"/>
            <a:ext cx="3566219" cy="34598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模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学习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或间接强化学习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经验数据的需求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值函数和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直接强化学习（无模型强化学习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简单且不受模型偏差的影响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A37ADDB8-D61B-4293-9C3C-2916BBA58F8A}"/>
              </a:ext>
            </a:extLst>
          </p:cNvPr>
          <p:cNvGrpSpPr/>
          <p:nvPr/>
        </p:nvGrpSpPr>
        <p:grpSpPr>
          <a:xfrm>
            <a:off x="3981157" y="1282119"/>
            <a:ext cx="5162844" cy="4246484"/>
            <a:chOff x="738551" y="2210590"/>
            <a:chExt cx="5097671" cy="4157377"/>
          </a:xfrm>
        </p:grpSpPr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4B46914C-7FFB-4018-A7DB-5EAC18BC0E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615"/>
            <a:stretch/>
          </p:blipFill>
          <p:spPr>
            <a:xfrm>
              <a:off x="738551" y="2210590"/>
              <a:ext cx="5097671" cy="4157377"/>
            </a:xfrm>
            <a:prstGeom prst="rect">
              <a:avLst/>
            </a:prstGeom>
          </p:spPr>
        </p:pic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DFB113A4-2758-49BE-A8B3-9A3A065DB390}"/>
                </a:ext>
              </a:extLst>
            </p:cNvPr>
            <p:cNvSpPr/>
            <p:nvPr/>
          </p:nvSpPr>
          <p:spPr>
            <a:xfrm>
              <a:off x="2571940" y="2422254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值函数</a:t>
              </a:r>
              <a:r>
                <a:rPr lang="en-US" altLang="zh-CN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/</a:t>
              </a:r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策略</a:t>
              </a: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66B26C4B-728C-4C7A-B044-D6B2A9A604FE}"/>
                </a:ext>
              </a:extLst>
            </p:cNvPr>
            <p:cNvSpPr/>
            <p:nvPr/>
          </p:nvSpPr>
          <p:spPr>
            <a:xfrm>
              <a:off x="3879890" y="4682611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经验</a:t>
              </a: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02F0197-8BB0-4177-80CE-2BCB67630B3C}"/>
                </a:ext>
              </a:extLst>
            </p:cNvPr>
            <p:cNvSpPr/>
            <p:nvPr/>
          </p:nvSpPr>
          <p:spPr>
            <a:xfrm>
              <a:off x="1242354" y="4700920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</a:t>
              </a: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E39CAD68-CD7F-4ECF-A752-20DEF1CA901B}"/>
                </a:ext>
              </a:extLst>
            </p:cNvPr>
            <p:cNvSpPr/>
            <p:nvPr/>
          </p:nvSpPr>
          <p:spPr>
            <a:xfrm>
              <a:off x="3578815" y="3496437"/>
              <a:ext cx="1155437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直接强化学习</a:t>
              </a: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3BE5D541-5F51-4E9B-85DD-723A41C14268}"/>
                </a:ext>
              </a:extLst>
            </p:cNvPr>
            <p:cNvSpPr/>
            <p:nvPr/>
          </p:nvSpPr>
          <p:spPr>
            <a:xfrm>
              <a:off x="3481220" y="3335363"/>
              <a:ext cx="195192" cy="55431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AC656A5B-6C81-4F8A-875C-EA2AA3A4D814}"/>
                </a:ext>
              </a:extLst>
            </p:cNvPr>
            <p:cNvSpPr/>
            <p:nvPr/>
          </p:nvSpPr>
          <p:spPr>
            <a:xfrm>
              <a:off x="4990597" y="3195459"/>
              <a:ext cx="655865" cy="560536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行动</a:t>
              </a: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8D9FC0B0-2A69-4136-8FD5-324A515CD988}"/>
                </a:ext>
              </a:extLst>
            </p:cNvPr>
            <p:cNvSpPr/>
            <p:nvPr/>
          </p:nvSpPr>
          <p:spPr>
            <a:xfrm>
              <a:off x="885323" y="3215269"/>
              <a:ext cx="836674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规划</a:t>
              </a: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A157636D-4A5C-4EC0-86AA-4431CA14DDDA}"/>
                </a:ext>
              </a:extLst>
            </p:cNvPr>
            <p:cNvSpPr/>
            <p:nvPr/>
          </p:nvSpPr>
          <p:spPr>
            <a:xfrm>
              <a:off x="2903502" y="5638698"/>
              <a:ext cx="1155437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学习</a:t>
              </a:r>
            </a:p>
          </p:txBody>
        </p:sp>
      </p:grpSp>
      <p:sp>
        <p:nvSpPr>
          <p:cNvPr id="3" name="矩形 2">
            <a:extLst>
              <a:ext uri="{FF2B5EF4-FFF2-40B4-BE49-F238E27FC236}">
                <a16:creationId xmlns:a16="http://schemas.microsoft.com/office/drawing/2014/main" id="{080B8A16-EFF3-2DBA-4ACD-987C96759E69}"/>
              </a:ext>
            </a:extLst>
          </p:cNvPr>
          <p:cNvSpPr/>
          <p:nvPr/>
        </p:nvSpPr>
        <p:spPr>
          <a:xfrm>
            <a:off x="681737" y="5317588"/>
            <a:ext cx="4593647" cy="10197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是否有一种方法不用学习值函数和策略，直接基于模型就可以工作呢？</a:t>
            </a:r>
            <a:r>
              <a:rPr lang="en-US" altLang="zh-CN" dirty="0">
                <a:solidFill>
                  <a:schemeClr val="tx1"/>
                </a:solidFill>
              </a:rPr>
              <a:t>- </a:t>
            </a:r>
            <a:r>
              <a:rPr lang="zh-CN" altLang="en-US" b="1" dirty="0">
                <a:solidFill>
                  <a:schemeClr val="tx1"/>
                </a:solidFill>
              </a:rPr>
              <a:t>模型预测控制</a:t>
            </a:r>
          </a:p>
        </p:txBody>
      </p:sp>
    </p:spTree>
    <p:extLst>
      <p:ext uri="{BB962C8B-B14F-4D97-AF65-F5344CB8AC3E}">
        <p14:creationId xmlns:p14="http://schemas.microsoft.com/office/powerpoint/2010/main" val="1759475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模型预测控制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218913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于模型的规划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6"/>
            <a:ext cx="8120858" cy="34598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预测控制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P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在每个时间步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P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采样多条轨迹，从这些轨迹中得到经验最优轨迹，然后取该轨迹的第一个动作来执行，如此往复，指导任务介绍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080B8A16-EFF3-2DBA-4ACD-987C96759E69}"/>
              </a:ext>
            </a:extLst>
          </p:cNvPr>
          <p:cNvSpPr/>
          <p:nvPr/>
        </p:nvSpPr>
        <p:spPr>
          <a:xfrm>
            <a:off x="2453875" y="5317588"/>
            <a:ext cx="4593647" cy="10197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模型预测控制方法不用学习值函数和策略，直接基于模型就可以工作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8E19200C-3B5B-CCA7-393D-DA1555E1EE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692"/>
          <a:stretch/>
        </p:blipFill>
        <p:spPr>
          <a:xfrm>
            <a:off x="760456" y="3172264"/>
            <a:ext cx="7851205" cy="189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4964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id="{3296A87F-F951-AE48-9C79-1BD310D192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4670" y="2022285"/>
            <a:ext cx="3441065" cy="407781"/>
          </a:xfrm>
        </p:spPr>
        <p:txBody>
          <a:bodyPr anchor="ctr" anchorCtr="0">
            <a:noAutofit/>
          </a:bodyPr>
          <a:lstStyle/>
          <a:p>
            <a:pPr algn="l"/>
            <a:r>
              <a:rPr kumimoji="1" lang="zh-CN" altLang="en-US" sz="2800" dirty="0"/>
              <a:t>打靶法</a:t>
            </a: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5724F0BF-53A1-8C4C-AD42-0E17F053D77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428196" y="2002626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6CFF8168-52EA-4041-999C-A03781529AD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84670" y="2822932"/>
            <a:ext cx="3441065" cy="407781"/>
          </a:xfrm>
        </p:spPr>
        <p:txBody>
          <a:bodyPr anchor="ctr" anchorCtr="0">
            <a:noAutofit/>
          </a:bodyPr>
          <a:lstStyle/>
          <a:p>
            <a:pPr algn="l"/>
            <a:r>
              <a:rPr kumimoji="1" lang="en-US" altLang="zh-CN" sz="2800" dirty="0"/>
              <a:t>PETS</a:t>
            </a:r>
            <a:r>
              <a:rPr kumimoji="1" lang="zh-CN" altLang="en-US" sz="2800" dirty="0"/>
              <a:t>算法</a:t>
            </a:r>
          </a:p>
        </p:txBody>
      </p:sp>
      <p:sp>
        <p:nvSpPr>
          <p:cNvPr id="14" name="文本占位符 4">
            <a:extLst>
              <a:ext uri="{FF2B5EF4-FFF2-40B4-BE49-F238E27FC236}">
                <a16:creationId xmlns:a16="http://schemas.microsoft.com/office/drawing/2014/main" id="{3A06AF6E-4CC5-1448-8068-D29DC14654C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28196" y="2781327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  <p:sp>
        <p:nvSpPr>
          <p:cNvPr id="19" name="文本占位符 8">
            <a:extLst>
              <a:ext uri="{FF2B5EF4-FFF2-40B4-BE49-F238E27FC236}">
                <a16:creationId xmlns:a16="http://schemas.microsoft.com/office/drawing/2014/main" id="{A17EEDD9-C74B-6949-B908-973B6F607D66}"/>
              </a:ext>
            </a:extLst>
          </p:cNvPr>
          <p:cNvSpPr txBox="1">
            <a:spLocks/>
          </p:cNvSpPr>
          <p:nvPr/>
        </p:nvSpPr>
        <p:spPr>
          <a:xfrm>
            <a:off x="4428196" y="5117430"/>
            <a:ext cx="636022" cy="4077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+mn-cs"/>
              </a:defRPr>
            </a:lvl1pPr>
            <a:lvl2pPr marL="4572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9144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3716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8288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22860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zh-CN" altLang="en-US" dirty="0"/>
          </a:p>
        </p:txBody>
      </p:sp>
      <p:sp>
        <p:nvSpPr>
          <p:cNvPr id="20" name="文本占位符 7">
            <a:extLst>
              <a:ext uri="{FF2B5EF4-FFF2-40B4-BE49-F238E27FC236}">
                <a16:creationId xmlns:a16="http://schemas.microsoft.com/office/drawing/2014/main" id="{35E19413-6B7B-784E-A6B8-01A75A5FD1C1}"/>
              </a:ext>
            </a:extLst>
          </p:cNvPr>
          <p:cNvSpPr txBox="1">
            <a:spLocks/>
          </p:cNvSpPr>
          <p:nvPr/>
        </p:nvSpPr>
        <p:spPr>
          <a:xfrm>
            <a:off x="5199299" y="5151720"/>
            <a:ext cx="3441065" cy="40778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 lnSpcReduction="10000"/>
          </a:bodyPr>
          <a:lstStyle>
            <a:lvl1pPr marL="0" indent="0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1" kern="120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+mn-cs"/>
              </a:defRPr>
            </a:lvl1pPr>
            <a:lvl2pPr marL="4572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9144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3716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8288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22860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126724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6957" y="2818892"/>
            <a:ext cx="3606098" cy="1220215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打靶法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32700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419</TotalTime>
  <Words>2206</Words>
  <Application>Microsoft Office PowerPoint</Application>
  <PresentationFormat>全屏显示(4:3)</PresentationFormat>
  <Paragraphs>290</Paragraphs>
  <Slides>30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0</vt:i4>
      </vt:variant>
    </vt:vector>
  </HeadingPairs>
  <TitlesOfParts>
    <vt:vector size="41" baseType="lpstr">
      <vt:lpstr>Alibaba PuHuiTi</vt:lpstr>
      <vt:lpstr>阿里巴巴普惠体 B</vt:lpstr>
      <vt:lpstr>阿里巴巴普惠体 R</vt:lpstr>
      <vt:lpstr>Microsoft YaHei</vt:lpstr>
      <vt:lpstr>Arial</vt:lpstr>
      <vt:lpstr>Calibri</vt:lpstr>
      <vt:lpstr>Cambria Math</vt:lpstr>
      <vt:lpstr>Wingdings</vt:lpstr>
      <vt:lpstr>主题5</vt:lpstr>
      <vt:lpstr>think-cell Slide</vt:lpstr>
      <vt:lpstr>Formula</vt:lpstr>
      <vt:lpstr>PowerPoint 演示文稿</vt:lpstr>
      <vt:lpstr>课程大纲</vt:lpstr>
      <vt:lpstr>PowerPoint 演示文稿</vt:lpstr>
      <vt:lpstr>基于模型的强化学习</vt:lpstr>
      <vt:lpstr>基于模型的强化学习</vt:lpstr>
      <vt:lpstr>复习：Dyna (集成规划、决策和学习)</vt:lpstr>
      <vt:lpstr>模型预测控制</vt:lpstr>
      <vt:lpstr>PowerPoint 演示文稿</vt:lpstr>
      <vt:lpstr>打靶法</vt:lpstr>
      <vt:lpstr>打靶法</vt:lpstr>
      <vt:lpstr>打靶法</vt:lpstr>
      <vt:lpstr>PETS算法</vt:lpstr>
      <vt:lpstr>PETS算法</vt:lpstr>
      <vt:lpstr>PETS算法</vt:lpstr>
      <vt:lpstr>PETS算法的实验</vt:lpstr>
      <vt:lpstr>PowerPoint 演示文稿</vt:lpstr>
      <vt:lpstr>复习：基于模型的强化学习</vt:lpstr>
      <vt:lpstr>复习：Dyna (集成规划、决策和学习)</vt:lpstr>
      <vt:lpstr>复习：PETS算法</vt:lpstr>
      <vt:lpstr>思考问题</vt:lpstr>
      <vt:lpstr>分支推演</vt:lpstr>
      <vt:lpstr>分支推演</vt:lpstr>
      <vt:lpstr>基于模型的强化学习中对策略价值误差的分析</vt:lpstr>
      <vt:lpstr>在分支推演对策略价值误差的分析</vt:lpstr>
      <vt:lpstr>适合的实验环境</vt:lpstr>
      <vt:lpstr>适合的实验环境</vt:lpstr>
      <vt:lpstr>基于模型的策略优化算法MBPO</vt:lpstr>
      <vt:lpstr>基于模型的策略优化算法MBPO的实验结果</vt:lpstr>
      <vt:lpstr>总结基于模型的强化学习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9-基于模型的深度强化学习</dc:title>
  <dc:creator>Weinan Zhang</dc:creator>
  <cp:lastModifiedBy>Zhang Weinan</cp:lastModifiedBy>
  <cp:revision>301</cp:revision>
  <cp:lastPrinted>2019-07-12T11:51:00Z</cp:lastPrinted>
  <dcterms:created xsi:type="dcterms:W3CDTF">2019-04-27T16:00:00Z</dcterms:created>
  <dcterms:modified xsi:type="dcterms:W3CDTF">2022-05-16T09:4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